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1" r:id="rId1"/>
  </p:sldMasterIdLst>
  <p:notesMasterIdLst>
    <p:notesMasterId r:id="rId17"/>
  </p:notesMasterIdLst>
  <p:handoutMasterIdLst>
    <p:handoutMasterId r:id="rId18"/>
  </p:handoutMasterIdLst>
  <p:sldIdLst>
    <p:sldId id="1922" r:id="rId2"/>
    <p:sldId id="1938" r:id="rId3"/>
    <p:sldId id="1923" r:id="rId4"/>
    <p:sldId id="1929" r:id="rId5"/>
    <p:sldId id="1932" r:id="rId6"/>
    <p:sldId id="1936" r:id="rId7"/>
    <p:sldId id="1924" r:id="rId8"/>
    <p:sldId id="1934" r:id="rId9"/>
    <p:sldId id="1937" r:id="rId10"/>
    <p:sldId id="1927" r:id="rId11"/>
    <p:sldId id="1926" r:id="rId12"/>
    <p:sldId id="1933" r:id="rId13"/>
    <p:sldId id="1928" r:id="rId14"/>
    <p:sldId id="1931" r:id="rId15"/>
    <p:sldId id="1925" r:id="rId16"/>
  </p:sldIdLst>
  <p:sldSz cx="12192000" cy="6858000"/>
  <p:notesSz cx="6858000" cy="9144000"/>
  <p:custDataLst>
    <p:tags r:id="rId19"/>
  </p:custDataLst>
  <p:defaultTextStyle>
    <a:defPPr>
      <a:defRPr lang="fi-FI"/>
    </a:defPPr>
    <a:lvl1pPr algn="l"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9A"/>
    <a:srgbClr val="FCD116"/>
    <a:srgbClr val="3A75C4"/>
    <a:srgbClr val="00BD9D"/>
    <a:srgbClr val="009E60"/>
    <a:srgbClr val="5BBF21"/>
    <a:srgbClr val="000000"/>
    <a:srgbClr val="FFFFFF"/>
    <a:srgbClr val="868686"/>
    <a:srgbClr val="FCA311"/>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Vaalea tyyli 2 - Korostus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Vaalea tyyli 2 - Korostus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Vaalea tyyli 2 - Korostus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Vaalea tyyli 2 - Korostus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Vaalea tyyli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Vaalea tyyli 3 - Korostus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0867" autoAdjust="0"/>
  </p:normalViewPr>
  <p:slideViewPr>
    <p:cSldViewPr>
      <p:cViewPr varScale="1">
        <p:scale>
          <a:sx n="103" d="100"/>
          <a:sy n="103" d="100"/>
        </p:scale>
        <p:origin x="840" y="66"/>
      </p:cViewPr>
      <p:guideLst>
        <p:guide orient="horz" pos="2160"/>
        <p:guide pos="3840"/>
      </p:guideLst>
    </p:cSldViewPr>
  </p:slideViewPr>
  <p:notesTextViewPr>
    <p:cViewPr>
      <p:scale>
        <a:sx n="3" d="2"/>
        <a:sy n="3" d="2"/>
      </p:scale>
      <p:origin x="0" y="0"/>
    </p:cViewPr>
  </p:notesTextViewPr>
  <p:sorterViewPr>
    <p:cViewPr>
      <p:scale>
        <a:sx n="201" d="100"/>
        <a:sy n="201" d="100"/>
      </p:scale>
      <p:origin x="0" y="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800" smtClean="0"/>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800" smtClean="0"/>
            </a:lvl1pPr>
          </a:lstStyle>
          <a:p>
            <a:pPr>
              <a:defRPr/>
            </a:pPr>
            <a:fld id="{86D4800B-8753-3B4F-97ED-321E73BD7EDB}" type="datetimeFigureOut">
              <a:rPr lang="fi-FI"/>
              <a:pPr>
                <a:defRPr/>
              </a:pPr>
              <a:t>22.8.2025</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800" smtClean="0"/>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800" smtClean="0"/>
            </a:lvl1pPr>
          </a:lstStyle>
          <a:p>
            <a:pPr>
              <a:defRPr/>
            </a:pPr>
            <a:fld id="{2AEE3D99-5224-E842-A8E5-E1EB0FE63541}" type="slidenum">
              <a:rPr lang="en-GB"/>
              <a:pPr>
                <a:defRPr/>
              </a:pPr>
              <a:t>‹#›</a:t>
            </a:fld>
            <a:endParaRPr lang="en-GB"/>
          </a:p>
        </p:txBody>
      </p:sp>
    </p:spTree>
    <p:extLst>
      <p:ext uri="{BB962C8B-B14F-4D97-AF65-F5344CB8AC3E}">
        <p14:creationId xmlns:p14="http://schemas.microsoft.com/office/powerpoint/2010/main" val="2755891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800" smtClean="0"/>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800" smtClean="0"/>
            </a:lvl1pPr>
          </a:lstStyle>
          <a:p>
            <a:pPr>
              <a:defRPr/>
            </a:pPr>
            <a:fld id="{BD7201BD-9C11-AD45-9EF1-CE7B667A450D}" type="datetimeFigureOut">
              <a:rPr lang="fi-FI"/>
              <a:pPr>
                <a:defRPr/>
              </a:pPr>
              <a:t>22.8.2025</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800" smtClean="0"/>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800" smtClean="0"/>
            </a:lvl1pPr>
          </a:lstStyle>
          <a:p>
            <a:pPr>
              <a:defRPr/>
            </a:pPr>
            <a:fld id="{3405D274-9957-F14C-8EA2-7129B63473F4}" type="slidenum">
              <a:rPr lang="en-GB"/>
              <a:pPr>
                <a:defRPr/>
              </a:pPr>
              <a:t>‹#›</a:t>
            </a:fld>
            <a:endParaRPr lang="en-GB"/>
          </a:p>
        </p:txBody>
      </p:sp>
    </p:spTree>
    <p:extLst>
      <p:ext uri="{BB962C8B-B14F-4D97-AF65-F5344CB8AC3E}">
        <p14:creationId xmlns:p14="http://schemas.microsoft.com/office/powerpoint/2010/main" val="312228610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pitchFamily="-72" charset="-128"/>
        <a:cs typeface="ＭＳ Ｐゴシック" pitchFamily="-7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7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7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7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7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i-FI" b="0" i="0" dirty="0">
                <a:solidFill>
                  <a:srgbClr val="666666"/>
                </a:solidFill>
                <a:effectLst/>
                <a:latin typeface="Open Sans" panose="020B0606030504020204" pitchFamily="34" charset="0"/>
              </a:rPr>
              <a:t>Informaatiosta voidaan jalostaa edelleen tietoa, kun sitä yhdistellään muuhun informaatioon ja olemassa olevaan tietoon. Tämä jalostuminen mahdollistaa informaation muuttamisen toimintaohjeiksi.</a:t>
            </a:r>
          </a:p>
          <a:p>
            <a:pPr algn="l"/>
            <a:r>
              <a:rPr lang="fi-FI" b="0" i="0" dirty="0">
                <a:solidFill>
                  <a:srgbClr val="666666"/>
                </a:solidFill>
                <a:effectLst/>
                <a:latin typeface="Open Sans" panose="020B0606030504020204" pitchFamily="34" charset="0"/>
              </a:rPr>
              <a:t>Muutos tiedosta viisaudeksi ei ole yksiselitteinen, mutta vähimmilläänkin sen saavuttaminen vaatii kokonaisvaltaista ymmärrystä toiminnan perusteista ja siihen vaikuttavista mekanismeista. Se edellyttää oleellisen erottamista epäoleellisesta, sekä koko toiminnan ja ajatteluketjun kriittistä tarkastelua ja taustalla vaikuttavien arvojen tunnistamista. Uusi tieto ja informaatio yhdistyy vanhaan tietoon, kokemuksiin ja intuitioon. Tiedon tasojen välillä liikkuminen ei ole aina yksiselitteistä, ja DIKW-malli on vastaanottanut myös kritiikkiä</a:t>
            </a:r>
          </a:p>
          <a:p>
            <a:endParaRPr lang="fi-FI" dirty="0"/>
          </a:p>
          <a:p>
            <a:endParaRPr lang="fi-FI" dirty="0"/>
          </a:p>
        </p:txBody>
      </p:sp>
      <p:sp>
        <p:nvSpPr>
          <p:cNvPr id="4" name="Slide Number Placeholder 3"/>
          <p:cNvSpPr>
            <a:spLocks noGrp="1"/>
          </p:cNvSpPr>
          <p:nvPr>
            <p:ph type="sldNum" sz="quarter" idx="5"/>
          </p:nvPr>
        </p:nvSpPr>
        <p:spPr/>
        <p:txBody>
          <a:bodyPr/>
          <a:lstStyle/>
          <a:p>
            <a:pPr>
              <a:defRPr/>
            </a:pPr>
            <a:fld id="{3405D274-9957-F14C-8EA2-7129B63473F4}" type="slidenum">
              <a:rPr lang="en-GB" smtClean="0"/>
              <a:pPr>
                <a:defRPr/>
              </a:pPr>
              <a:t>4</a:t>
            </a:fld>
            <a:endParaRPr lang="en-GB"/>
          </a:p>
        </p:txBody>
      </p:sp>
    </p:spTree>
    <p:extLst>
      <p:ext uri="{BB962C8B-B14F-4D97-AF65-F5344CB8AC3E}">
        <p14:creationId xmlns:p14="http://schemas.microsoft.com/office/powerpoint/2010/main" val="1249179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a:defRPr/>
            </a:pPr>
            <a:fld id="{3405D274-9957-F14C-8EA2-7129B63473F4}" type="slidenum">
              <a:rPr lang="en-GB" smtClean="0"/>
              <a:pPr>
                <a:defRPr/>
              </a:pPr>
              <a:t>15</a:t>
            </a:fld>
            <a:endParaRPr lang="en-GB"/>
          </a:p>
        </p:txBody>
      </p:sp>
    </p:spTree>
    <p:extLst>
      <p:ext uri="{BB962C8B-B14F-4D97-AF65-F5344CB8AC3E}">
        <p14:creationId xmlns:p14="http://schemas.microsoft.com/office/powerpoint/2010/main" val="1680749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slide 1">
    <p:spTree>
      <p:nvGrpSpPr>
        <p:cNvPr id="1" name=""/>
        <p:cNvGrpSpPr/>
        <p:nvPr/>
      </p:nvGrpSpPr>
      <p:grpSpPr>
        <a:xfrm>
          <a:off x="0" y="0"/>
          <a:ext cx="0" cy="0"/>
          <a:chOff x="0" y="0"/>
          <a:chExt cx="0" cy="0"/>
        </a:xfrm>
      </p:grpSpPr>
      <p:pic>
        <p:nvPicPr>
          <p:cNvPr id="3" name="Kuva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667" y="255224"/>
            <a:ext cx="11514667" cy="5903052"/>
          </a:xfrm>
          <a:prstGeom prst="rect">
            <a:avLst/>
          </a:prstGeom>
        </p:spPr>
      </p:pic>
      <p:sp>
        <p:nvSpPr>
          <p:cNvPr id="11" name="Title Placeholder 1"/>
          <p:cNvSpPr>
            <a:spLocks noGrp="1"/>
          </p:cNvSpPr>
          <p:nvPr>
            <p:ph type="ctrTitle" hasCustomPrompt="1"/>
          </p:nvPr>
        </p:nvSpPr>
        <p:spPr>
          <a:xfrm>
            <a:off x="911424" y="2708920"/>
            <a:ext cx="10363200" cy="1296144"/>
          </a:xfrm>
          <a:effectLst>
            <a:outerShdw blurRad="50800" dist="38100" dir="2700000" algn="tl" rotWithShape="0">
              <a:prstClr val="black">
                <a:alpha val="40000"/>
              </a:prstClr>
            </a:outerShdw>
          </a:effectLst>
        </p:spPr>
        <p:txBody>
          <a:bodyPr anchor="ctr" anchorCtr="0"/>
          <a:lstStyle>
            <a:lvl1pPr algn="ctr">
              <a:lnSpc>
                <a:spcPct val="70000"/>
              </a:lnSpc>
              <a:defRPr sz="4800" u="none" cap="all" baseline="0">
                <a:solidFill>
                  <a:schemeClr val="bg1"/>
                </a:solidFill>
                <a:latin typeface="+mj-lt"/>
                <a:ea typeface="ＭＳ Ｐゴシック" charset="0"/>
                <a:cs typeface="Gotham Narrow Bold"/>
              </a:defRPr>
            </a:lvl1pPr>
          </a:lstStyle>
          <a:p>
            <a:pPr lvl="0"/>
            <a:r>
              <a:rPr lang="fi-FI" noProof="0" dirty="0"/>
              <a:t>CLICK TO ADD TITLE</a:t>
            </a:r>
          </a:p>
        </p:txBody>
      </p:sp>
      <p:sp>
        <p:nvSpPr>
          <p:cNvPr id="13" name="Text Placeholder 2"/>
          <p:cNvSpPr>
            <a:spLocks noGrp="1"/>
          </p:cNvSpPr>
          <p:nvPr>
            <p:ph type="subTitle" idx="1" hasCustomPrompt="1"/>
          </p:nvPr>
        </p:nvSpPr>
        <p:spPr>
          <a:xfrm>
            <a:off x="914400" y="4267200"/>
            <a:ext cx="10363200" cy="1371600"/>
          </a:xfrm>
          <a:effectLst>
            <a:outerShdw blurRad="50800" dist="38100" dir="2700000" algn="tl" rotWithShape="0">
              <a:prstClr val="black">
                <a:alpha val="40000"/>
              </a:prstClr>
            </a:outerShdw>
          </a:effectLst>
        </p:spPr>
        <p:txBody>
          <a:bodyPr/>
          <a:lstStyle>
            <a:lvl1pPr algn="ctr">
              <a:lnSpc>
                <a:spcPct val="90000"/>
              </a:lnSpc>
              <a:spcAft>
                <a:spcPct val="0"/>
              </a:spcAft>
              <a:defRPr b="0">
                <a:solidFill>
                  <a:srgbClr val="FFFFFF"/>
                </a:solidFill>
                <a:latin typeface="+mj-lt"/>
                <a:ea typeface="ＭＳ Ｐゴシック" charset="0"/>
                <a:cs typeface="Gotham Narrow Bold"/>
              </a:defRPr>
            </a:lvl1pPr>
          </a:lstStyle>
          <a:p>
            <a:pPr lvl="0"/>
            <a:r>
              <a:rPr lang="fi-FI" noProof="0" dirty="0" err="1"/>
              <a:t>Click</a:t>
            </a:r>
            <a:r>
              <a:rPr lang="fi-FI" noProof="0" dirty="0"/>
              <a:t> to </a:t>
            </a:r>
            <a:r>
              <a:rPr lang="fi-FI" noProof="0" dirty="0" err="1"/>
              <a:t>add</a:t>
            </a:r>
            <a:r>
              <a:rPr lang="fi-FI" noProof="0" dirty="0"/>
              <a:t> </a:t>
            </a:r>
            <a:r>
              <a:rPr lang="fi-FI" noProof="0" dirty="0" err="1"/>
              <a:t>subtitle</a:t>
            </a:r>
            <a:endParaRPr lang="fi-FI" noProof="0" dirty="0"/>
          </a:p>
        </p:txBody>
      </p:sp>
      <p:sp>
        <p:nvSpPr>
          <p:cNvPr id="6" name="Päivämäärän paikkamerkki 5"/>
          <p:cNvSpPr>
            <a:spLocks noGrp="1"/>
          </p:cNvSpPr>
          <p:nvPr>
            <p:ph type="dt" sz="half" idx="10"/>
          </p:nvPr>
        </p:nvSpPr>
        <p:spPr/>
        <p:txBody>
          <a:bodyPr/>
          <a:lstStyle/>
          <a:p>
            <a:pPr>
              <a:defRPr/>
            </a:pPr>
            <a:fld id="{69820555-55D0-4FAE-9AFB-81BBB54A2F80}" type="datetime1">
              <a:rPr lang="en-GB" smtClean="0"/>
              <a:t>22/08/2025</a:t>
            </a:fld>
            <a:endParaRPr lang="fi-FI" dirty="0"/>
          </a:p>
        </p:txBody>
      </p:sp>
      <p:sp>
        <p:nvSpPr>
          <p:cNvPr id="7" name="Alatunnisteen paikkamerkki 6"/>
          <p:cNvSpPr>
            <a:spLocks noGrp="1"/>
          </p:cNvSpPr>
          <p:nvPr>
            <p:ph type="ftr" sz="quarter" idx="11"/>
          </p:nvPr>
        </p:nvSpPr>
        <p:spPr/>
        <p:txBody>
          <a:bodyPr/>
          <a:lstStyle/>
          <a:p>
            <a:r>
              <a:rPr lang="fi-FI"/>
              <a:t>Presentation Name / Firstname Lastname</a:t>
            </a:r>
            <a:endParaRPr lang="fi-FI" dirty="0"/>
          </a:p>
        </p:txBody>
      </p:sp>
      <p:sp>
        <p:nvSpPr>
          <p:cNvPr id="8" name="Dian numeron paikkamerkki 7"/>
          <p:cNvSpPr>
            <a:spLocks noGrp="1"/>
          </p:cNvSpPr>
          <p:nvPr>
            <p:ph type="sldNum" sz="quarter" idx="12"/>
          </p:nvPr>
        </p:nvSpPr>
        <p:spPr/>
        <p:txBody>
          <a:bodyPr/>
          <a:lstStyle/>
          <a:p>
            <a:pPr>
              <a:defRPr/>
            </a:pPr>
            <a:fld id="{4669315E-5A66-CF44-AE5D-C333B2F730C4}" type="slidenum">
              <a:rPr lang="en-GB" smtClean="0"/>
              <a:pPr>
                <a:defRPr/>
              </a:pPr>
              <a:t>‹#›</a:t>
            </a:fld>
            <a:endParaRPr lang="en-GB" dirty="0"/>
          </a:p>
        </p:txBody>
      </p:sp>
      <p:grpSp>
        <p:nvGrpSpPr>
          <p:cNvPr id="12" name="Ryhmä 11"/>
          <p:cNvGrpSpPr/>
          <p:nvPr userDrawn="1"/>
        </p:nvGrpSpPr>
        <p:grpSpPr bwMode="white">
          <a:xfrm>
            <a:off x="347250" y="260248"/>
            <a:ext cx="2491200" cy="2334818"/>
            <a:chOff x="1311275" y="373063"/>
            <a:chExt cx="6524625" cy="6115050"/>
          </a:xfrm>
          <a:solidFill>
            <a:schemeClr val="bg1"/>
          </a:solidFill>
        </p:grpSpPr>
        <p:sp>
          <p:nvSpPr>
            <p:cNvPr id="14" name="Rectangle 5"/>
            <p:cNvSpPr>
              <a:spLocks noChangeArrowheads="1"/>
            </p:cNvSpPr>
            <p:nvPr userDrawn="1"/>
          </p:nvSpPr>
          <p:spPr bwMode="white">
            <a:xfrm>
              <a:off x="4267200" y="5875338"/>
              <a:ext cx="609600" cy="612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Rectangle 6"/>
            <p:cNvSpPr>
              <a:spLocks noChangeArrowheads="1"/>
            </p:cNvSpPr>
            <p:nvPr userDrawn="1"/>
          </p:nvSpPr>
          <p:spPr bwMode="white">
            <a:xfrm>
              <a:off x="4267200" y="373063"/>
              <a:ext cx="609600" cy="609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7"/>
            <p:cNvSpPr>
              <a:spLocks noEditPoints="1"/>
            </p:cNvSpPr>
            <p:nvPr userDrawn="1"/>
          </p:nvSpPr>
          <p:spPr bwMode="white">
            <a:xfrm>
              <a:off x="1311275" y="1436688"/>
              <a:ext cx="6524625" cy="4152900"/>
            </a:xfrm>
            <a:custGeom>
              <a:avLst/>
              <a:gdLst>
                <a:gd name="T0" fmla="*/ 3947 w 4110"/>
                <a:gd name="T1" fmla="*/ 1670 h 2616"/>
                <a:gd name="T2" fmla="*/ 3459 w 4110"/>
                <a:gd name="T3" fmla="*/ 1403 h 2616"/>
                <a:gd name="T4" fmla="*/ 3294 w 4110"/>
                <a:gd name="T5" fmla="*/ 1199 h 2616"/>
                <a:gd name="T6" fmla="*/ 3062 w 4110"/>
                <a:gd name="T7" fmla="*/ 1048 h 2616"/>
                <a:gd name="T8" fmla="*/ 2897 w 4110"/>
                <a:gd name="T9" fmla="*/ 789 h 2616"/>
                <a:gd name="T10" fmla="*/ 2734 w 4110"/>
                <a:gd name="T11" fmla="*/ 314 h 2616"/>
                <a:gd name="T12" fmla="*/ 2417 w 4110"/>
                <a:gd name="T13" fmla="*/ 63 h 2616"/>
                <a:gd name="T14" fmla="*/ 2077 w 4110"/>
                <a:gd name="T15" fmla="*/ 19 h 2616"/>
                <a:gd name="T16" fmla="*/ 2204 w 4110"/>
                <a:gd name="T17" fmla="*/ 197 h 2616"/>
                <a:gd name="T18" fmla="*/ 2175 w 4110"/>
                <a:gd name="T19" fmla="*/ 357 h 2616"/>
                <a:gd name="T20" fmla="*/ 2041 w 4110"/>
                <a:gd name="T21" fmla="*/ 433 h 2616"/>
                <a:gd name="T22" fmla="*/ 1818 w 4110"/>
                <a:gd name="T23" fmla="*/ 362 h 2616"/>
                <a:gd name="T24" fmla="*/ 1518 w 4110"/>
                <a:gd name="T25" fmla="*/ 159 h 2616"/>
                <a:gd name="T26" fmla="*/ 1213 w 4110"/>
                <a:gd name="T27" fmla="*/ 130 h 2616"/>
                <a:gd name="T28" fmla="*/ 1198 w 4110"/>
                <a:gd name="T29" fmla="*/ 209 h 2616"/>
                <a:gd name="T30" fmla="*/ 1401 w 4110"/>
                <a:gd name="T31" fmla="*/ 481 h 2616"/>
                <a:gd name="T32" fmla="*/ 1555 w 4110"/>
                <a:gd name="T33" fmla="*/ 708 h 2616"/>
                <a:gd name="T34" fmla="*/ 1672 w 4110"/>
                <a:gd name="T35" fmla="*/ 796 h 2616"/>
                <a:gd name="T36" fmla="*/ 1405 w 4110"/>
                <a:gd name="T37" fmla="*/ 787 h 2616"/>
                <a:gd name="T38" fmla="*/ 1102 w 4110"/>
                <a:gd name="T39" fmla="*/ 558 h 2616"/>
                <a:gd name="T40" fmla="*/ 821 w 4110"/>
                <a:gd name="T41" fmla="*/ 395 h 2616"/>
                <a:gd name="T42" fmla="*/ 531 w 4110"/>
                <a:gd name="T43" fmla="*/ 426 h 2616"/>
                <a:gd name="T44" fmla="*/ 748 w 4110"/>
                <a:gd name="T45" fmla="*/ 537 h 2616"/>
                <a:gd name="T46" fmla="*/ 762 w 4110"/>
                <a:gd name="T47" fmla="*/ 704 h 2616"/>
                <a:gd name="T48" fmla="*/ 608 w 4110"/>
                <a:gd name="T49" fmla="*/ 689 h 2616"/>
                <a:gd name="T50" fmla="*/ 387 w 4110"/>
                <a:gd name="T51" fmla="*/ 529 h 2616"/>
                <a:gd name="T52" fmla="*/ 103 w 4110"/>
                <a:gd name="T53" fmla="*/ 499 h 2616"/>
                <a:gd name="T54" fmla="*/ 157 w 4110"/>
                <a:gd name="T55" fmla="*/ 597 h 2616"/>
                <a:gd name="T56" fmla="*/ 397 w 4110"/>
                <a:gd name="T57" fmla="*/ 913 h 2616"/>
                <a:gd name="T58" fmla="*/ 578 w 4110"/>
                <a:gd name="T59" fmla="*/ 1190 h 2616"/>
                <a:gd name="T60" fmla="*/ 954 w 4110"/>
                <a:gd name="T61" fmla="*/ 1253 h 2616"/>
                <a:gd name="T62" fmla="*/ 1184 w 4110"/>
                <a:gd name="T63" fmla="*/ 1316 h 2616"/>
                <a:gd name="T64" fmla="*/ 1250 w 4110"/>
                <a:gd name="T65" fmla="*/ 1526 h 2616"/>
                <a:gd name="T66" fmla="*/ 1365 w 4110"/>
                <a:gd name="T67" fmla="*/ 1691 h 2616"/>
                <a:gd name="T68" fmla="*/ 1601 w 4110"/>
                <a:gd name="T69" fmla="*/ 1766 h 2616"/>
                <a:gd name="T70" fmla="*/ 1384 w 4110"/>
                <a:gd name="T71" fmla="*/ 1823 h 2616"/>
                <a:gd name="T72" fmla="*/ 965 w 4110"/>
                <a:gd name="T73" fmla="*/ 1706 h 2616"/>
                <a:gd name="T74" fmla="*/ 971 w 4110"/>
                <a:gd name="T75" fmla="*/ 1890 h 2616"/>
                <a:gd name="T76" fmla="*/ 1173 w 4110"/>
                <a:gd name="T77" fmla="*/ 2136 h 2616"/>
                <a:gd name="T78" fmla="*/ 1534 w 4110"/>
                <a:gd name="T79" fmla="*/ 2226 h 2616"/>
                <a:gd name="T80" fmla="*/ 1883 w 4110"/>
                <a:gd name="T81" fmla="*/ 2182 h 2616"/>
                <a:gd name="T82" fmla="*/ 1985 w 4110"/>
                <a:gd name="T83" fmla="*/ 2299 h 2616"/>
                <a:gd name="T84" fmla="*/ 2154 w 4110"/>
                <a:gd name="T85" fmla="*/ 2418 h 2616"/>
                <a:gd name="T86" fmla="*/ 2476 w 4110"/>
                <a:gd name="T87" fmla="*/ 2413 h 2616"/>
                <a:gd name="T88" fmla="*/ 2797 w 4110"/>
                <a:gd name="T89" fmla="*/ 2585 h 2616"/>
                <a:gd name="T90" fmla="*/ 2803 w 4110"/>
                <a:gd name="T91" fmla="*/ 2395 h 2616"/>
                <a:gd name="T92" fmla="*/ 2594 w 4110"/>
                <a:gd name="T93" fmla="*/ 2119 h 2616"/>
                <a:gd name="T94" fmla="*/ 2403 w 4110"/>
                <a:gd name="T95" fmla="*/ 1960 h 2616"/>
                <a:gd name="T96" fmla="*/ 2426 w 4110"/>
                <a:gd name="T97" fmla="*/ 1890 h 2616"/>
                <a:gd name="T98" fmla="*/ 2663 w 4110"/>
                <a:gd name="T99" fmla="*/ 1996 h 2616"/>
                <a:gd name="T100" fmla="*/ 3012 w 4110"/>
                <a:gd name="T101" fmla="*/ 2088 h 2616"/>
                <a:gd name="T102" fmla="*/ 3156 w 4110"/>
                <a:gd name="T103" fmla="*/ 2125 h 2616"/>
                <a:gd name="T104" fmla="*/ 3035 w 4110"/>
                <a:gd name="T105" fmla="*/ 1900 h 2616"/>
                <a:gd name="T106" fmla="*/ 2837 w 4110"/>
                <a:gd name="T107" fmla="*/ 1698 h 2616"/>
                <a:gd name="T108" fmla="*/ 3185 w 4110"/>
                <a:gd name="T109" fmla="*/ 1746 h 2616"/>
                <a:gd name="T110" fmla="*/ 3440 w 4110"/>
                <a:gd name="T111" fmla="*/ 1741 h 2616"/>
                <a:gd name="T112" fmla="*/ 3596 w 4110"/>
                <a:gd name="T113" fmla="*/ 1842 h 2616"/>
                <a:gd name="T114" fmla="*/ 3951 w 4110"/>
                <a:gd name="T115" fmla="*/ 1816 h 2616"/>
                <a:gd name="T116" fmla="*/ 2246 w 4110"/>
                <a:gd name="T117" fmla="*/ 1449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10" h="2616">
                  <a:moveTo>
                    <a:pt x="4110" y="1887"/>
                  </a:moveTo>
                  <a:lnTo>
                    <a:pt x="4095" y="1858"/>
                  </a:lnTo>
                  <a:lnTo>
                    <a:pt x="4080" y="1829"/>
                  </a:lnTo>
                  <a:lnTo>
                    <a:pt x="4062" y="1802"/>
                  </a:lnTo>
                  <a:lnTo>
                    <a:pt x="4045" y="1777"/>
                  </a:lnTo>
                  <a:lnTo>
                    <a:pt x="4028" y="1754"/>
                  </a:lnTo>
                  <a:lnTo>
                    <a:pt x="4009" y="1731"/>
                  </a:lnTo>
                  <a:lnTo>
                    <a:pt x="3989" y="1710"/>
                  </a:lnTo>
                  <a:lnTo>
                    <a:pt x="3968" y="1689"/>
                  </a:lnTo>
                  <a:lnTo>
                    <a:pt x="3947" y="1670"/>
                  </a:lnTo>
                  <a:lnTo>
                    <a:pt x="3926" y="1652"/>
                  </a:lnTo>
                  <a:lnTo>
                    <a:pt x="3903" y="1635"/>
                  </a:lnTo>
                  <a:lnTo>
                    <a:pt x="3882" y="1618"/>
                  </a:lnTo>
                  <a:lnTo>
                    <a:pt x="3834" y="1589"/>
                  </a:lnTo>
                  <a:lnTo>
                    <a:pt x="3788" y="1560"/>
                  </a:lnTo>
                  <a:lnTo>
                    <a:pt x="3690" y="1512"/>
                  </a:lnTo>
                  <a:lnTo>
                    <a:pt x="3594" y="1468"/>
                  </a:lnTo>
                  <a:lnTo>
                    <a:pt x="3548" y="1447"/>
                  </a:lnTo>
                  <a:lnTo>
                    <a:pt x="3504" y="1426"/>
                  </a:lnTo>
                  <a:lnTo>
                    <a:pt x="3459" y="1403"/>
                  </a:lnTo>
                  <a:lnTo>
                    <a:pt x="3419" y="1378"/>
                  </a:lnTo>
                  <a:lnTo>
                    <a:pt x="3402" y="1364"/>
                  </a:lnTo>
                  <a:lnTo>
                    <a:pt x="3385" y="1351"/>
                  </a:lnTo>
                  <a:lnTo>
                    <a:pt x="3369" y="1336"/>
                  </a:lnTo>
                  <a:lnTo>
                    <a:pt x="3356" y="1318"/>
                  </a:lnTo>
                  <a:lnTo>
                    <a:pt x="3342" y="1299"/>
                  </a:lnTo>
                  <a:lnTo>
                    <a:pt x="3331" y="1282"/>
                  </a:lnTo>
                  <a:lnTo>
                    <a:pt x="3319" y="1263"/>
                  </a:lnTo>
                  <a:lnTo>
                    <a:pt x="3310" y="1242"/>
                  </a:lnTo>
                  <a:lnTo>
                    <a:pt x="3294" y="1199"/>
                  </a:lnTo>
                  <a:lnTo>
                    <a:pt x="3281" y="1157"/>
                  </a:lnTo>
                  <a:lnTo>
                    <a:pt x="3271" y="1115"/>
                  </a:lnTo>
                  <a:lnTo>
                    <a:pt x="3264" y="1073"/>
                  </a:lnTo>
                  <a:lnTo>
                    <a:pt x="3223" y="1076"/>
                  </a:lnTo>
                  <a:lnTo>
                    <a:pt x="3179" y="1076"/>
                  </a:lnTo>
                  <a:lnTo>
                    <a:pt x="3156" y="1075"/>
                  </a:lnTo>
                  <a:lnTo>
                    <a:pt x="3133" y="1071"/>
                  </a:lnTo>
                  <a:lnTo>
                    <a:pt x="3110" y="1065"/>
                  </a:lnTo>
                  <a:lnTo>
                    <a:pt x="3087" y="1057"/>
                  </a:lnTo>
                  <a:lnTo>
                    <a:pt x="3062" y="1048"/>
                  </a:lnTo>
                  <a:lnTo>
                    <a:pt x="3039" y="1034"/>
                  </a:lnTo>
                  <a:lnTo>
                    <a:pt x="3018" y="1019"/>
                  </a:lnTo>
                  <a:lnTo>
                    <a:pt x="2997" y="1000"/>
                  </a:lnTo>
                  <a:lnTo>
                    <a:pt x="2976" y="979"/>
                  </a:lnTo>
                  <a:lnTo>
                    <a:pt x="2956" y="952"/>
                  </a:lnTo>
                  <a:lnTo>
                    <a:pt x="2939" y="921"/>
                  </a:lnTo>
                  <a:lnTo>
                    <a:pt x="2924" y="886"/>
                  </a:lnTo>
                  <a:lnTo>
                    <a:pt x="2912" y="856"/>
                  </a:lnTo>
                  <a:lnTo>
                    <a:pt x="2905" y="823"/>
                  </a:lnTo>
                  <a:lnTo>
                    <a:pt x="2897" y="789"/>
                  </a:lnTo>
                  <a:lnTo>
                    <a:pt x="2889" y="752"/>
                  </a:lnTo>
                  <a:lnTo>
                    <a:pt x="2874" y="675"/>
                  </a:lnTo>
                  <a:lnTo>
                    <a:pt x="2857" y="593"/>
                  </a:lnTo>
                  <a:lnTo>
                    <a:pt x="2845" y="550"/>
                  </a:lnTo>
                  <a:lnTo>
                    <a:pt x="2834" y="508"/>
                  </a:lnTo>
                  <a:lnTo>
                    <a:pt x="2816" y="464"/>
                  </a:lnTo>
                  <a:lnTo>
                    <a:pt x="2797" y="422"/>
                  </a:lnTo>
                  <a:lnTo>
                    <a:pt x="2776" y="378"/>
                  </a:lnTo>
                  <a:lnTo>
                    <a:pt x="2749" y="335"/>
                  </a:lnTo>
                  <a:lnTo>
                    <a:pt x="2734" y="314"/>
                  </a:lnTo>
                  <a:lnTo>
                    <a:pt x="2718" y="293"/>
                  </a:lnTo>
                  <a:lnTo>
                    <a:pt x="2701" y="272"/>
                  </a:lnTo>
                  <a:lnTo>
                    <a:pt x="2682" y="251"/>
                  </a:lnTo>
                  <a:lnTo>
                    <a:pt x="2647" y="216"/>
                  </a:lnTo>
                  <a:lnTo>
                    <a:pt x="2611" y="184"/>
                  </a:lnTo>
                  <a:lnTo>
                    <a:pt x="2572" y="153"/>
                  </a:lnTo>
                  <a:lnTo>
                    <a:pt x="2534" y="126"/>
                  </a:lnTo>
                  <a:lnTo>
                    <a:pt x="2496" y="101"/>
                  </a:lnTo>
                  <a:lnTo>
                    <a:pt x="2457" y="80"/>
                  </a:lnTo>
                  <a:lnTo>
                    <a:pt x="2417" y="63"/>
                  </a:lnTo>
                  <a:lnTo>
                    <a:pt x="2377" y="46"/>
                  </a:lnTo>
                  <a:lnTo>
                    <a:pt x="2336" y="32"/>
                  </a:lnTo>
                  <a:lnTo>
                    <a:pt x="2296" y="21"/>
                  </a:lnTo>
                  <a:lnTo>
                    <a:pt x="2256" y="13"/>
                  </a:lnTo>
                  <a:lnTo>
                    <a:pt x="2215" y="5"/>
                  </a:lnTo>
                  <a:lnTo>
                    <a:pt x="2175" y="1"/>
                  </a:lnTo>
                  <a:lnTo>
                    <a:pt x="2135" y="0"/>
                  </a:lnTo>
                  <a:lnTo>
                    <a:pt x="2094" y="0"/>
                  </a:lnTo>
                  <a:lnTo>
                    <a:pt x="2054" y="1"/>
                  </a:lnTo>
                  <a:lnTo>
                    <a:pt x="2077" y="19"/>
                  </a:lnTo>
                  <a:lnTo>
                    <a:pt x="2098" y="34"/>
                  </a:lnTo>
                  <a:lnTo>
                    <a:pt x="2117" y="51"/>
                  </a:lnTo>
                  <a:lnTo>
                    <a:pt x="2135" y="71"/>
                  </a:lnTo>
                  <a:lnTo>
                    <a:pt x="2150" y="88"/>
                  </a:lnTo>
                  <a:lnTo>
                    <a:pt x="2163" y="105"/>
                  </a:lnTo>
                  <a:lnTo>
                    <a:pt x="2175" y="124"/>
                  </a:lnTo>
                  <a:lnTo>
                    <a:pt x="2185" y="142"/>
                  </a:lnTo>
                  <a:lnTo>
                    <a:pt x="2192" y="161"/>
                  </a:lnTo>
                  <a:lnTo>
                    <a:pt x="2200" y="178"/>
                  </a:lnTo>
                  <a:lnTo>
                    <a:pt x="2204" y="197"/>
                  </a:lnTo>
                  <a:lnTo>
                    <a:pt x="2208" y="215"/>
                  </a:lnTo>
                  <a:lnTo>
                    <a:pt x="2210" y="232"/>
                  </a:lnTo>
                  <a:lnTo>
                    <a:pt x="2210" y="249"/>
                  </a:lnTo>
                  <a:lnTo>
                    <a:pt x="2208" y="266"/>
                  </a:lnTo>
                  <a:lnTo>
                    <a:pt x="2206" y="284"/>
                  </a:lnTo>
                  <a:lnTo>
                    <a:pt x="2202" y="299"/>
                  </a:lnTo>
                  <a:lnTo>
                    <a:pt x="2198" y="314"/>
                  </a:lnTo>
                  <a:lnTo>
                    <a:pt x="2190" y="330"/>
                  </a:lnTo>
                  <a:lnTo>
                    <a:pt x="2183" y="343"/>
                  </a:lnTo>
                  <a:lnTo>
                    <a:pt x="2175" y="357"/>
                  </a:lnTo>
                  <a:lnTo>
                    <a:pt x="2165" y="370"/>
                  </a:lnTo>
                  <a:lnTo>
                    <a:pt x="2156" y="382"/>
                  </a:lnTo>
                  <a:lnTo>
                    <a:pt x="2144" y="391"/>
                  </a:lnTo>
                  <a:lnTo>
                    <a:pt x="2131" y="401"/>
                  </a:lnTo>
                  <a:lnTo>
                    <a:pt x="2117" y="410"/>
                  </a:lnTo>
                  <a:lnTo>
                    <a:pt x="2104" y="418"/>
                  </a:lnTo>
                  <a:lnTo>
                    <a:pt x="2089" y="424"/>
                  </a:lnTo>
                  <a:lnTo>
                    <a:pt x="2073" y="428"/>
                  </a:lnTo>
                  <a:lnTo>
                    <a:pt x="2058" y="431"/>
                  </a:lnTo>
                  <a:lnTo>
                    <a:pt x="2041" y="433"/>
                  </a:lnTo>
                  <a:lnTo>
                    <a:pt x="2023" y="435"/>
                  </a:lnTo>
                  <a:lnTo>
                    <a:pt x="1998" y="433"/>
                  </a:lnTo>
                  <a:lnTo>
                    <a:pt x="1975" y="431"/>
                  </a:lnTo>
                  <a:lnTo>
                    <a:pt x="1954" y="428"/>
                  </a:lnTo>
                  <a:lnTo>
                    <a:pt x="1933" y="422"/>
                  </a:lnTo>
                  <a:lnTo>
                    <a:pt x="1912" y="414"/>
                  </a:lnTo>
                  <a:lnTo>
                    <a:pt x="1893" y="407"/>
                  </a:lnTo>
                  <a:lnTo>
                    <a:pt x="1874" y="397"/>
                  </a:lnTo>
                  <a:lnTo>
                    <a:pt x="1854" y="385"/>
                  </a:lnTo>
                  <a:lnTo>
                    <a:pt x="1818" y="362"/>
                  </a:lnTo>
                  <a:lnTo>
                    <a:pt x="1781" y="335"/>
                  </a:lnTo>
                  <a:lnTo>
                    <a:pt x="1747" y="307"/>
                  </a:lnTo>
                  <a:lnTo>
                    <a:pt x="1710" y="278"/>
                  </a:lnTo>
                  <a:lnTo>
                    <a:pt x="1672" y="247"/>
                  </a:lnTo>
                  <a:lnTo>
                    <a:pt x="1632" y="220"/>
                  </a:lnTo>
                  <a:lnTo>
                    <a:pt x="1610" y="207"/>
                  </a:lnTo>
                  <a:lnTo>
                    <a:pt x="1589" y="193"/>
                  </a:lnTo>
                  <a:lnTo>
                    <a:pt x="1566" y="180"/>
                  </a:lnTo>
                  <a:lnTo>
                    <a:pt x="1543" y="168"/>
                  </a:lnTo>
                  <a:lnTo>
                    <a:pt x="1518" y="159"/>
                  </a:lnTo>
                  <a:lnTo>
                    <a:pt x="1491" y="149"/>
                  </a:lnTo>
                  <a:lnTo>
                    <a:pt x="1465" y="142"/>
                  </a:lnTo>
                  <a:lnTo>
                    <a:pt x="1436" y="134"/>
                  </a:lnTo>
                  <a:lnTo>
                    <a:pt x="1405" y="128"/>
                  </a:lnTo>
                  <a:lnTo>
                    <a:pt x="1374" y="124"/>
                  </a:lnTo>
                  <a:lnTo>
                    <a:pt x="1342" y="120"/>
                  </a:lnTo>
                  <a:lnTo>
                    <a:pt x="1305" y="120"/>
                  </a:lnTo>
                  <a:lnTo>
                    <a:pt x="1273" y="120"/>
                  </a:lnTo>
                  <a:lnTo>
                    <a:pt x="1242" y="124"/>
                  </a:lnTo>
                  <a:lnTo>
                    <a:pt x="1213" y="130"/>
                  </a:lnTo>
                  <a:lnTo>
                    <a:pt x="1184" y="138"/>
                  </a:lnTo>
                  <a:lnTo>
                    <a:pt x="1159" y="147"/>
                  </a:lnTo>
                  <a:lnTo>
                    <a:pt x="1134" y="157"/>
                  </a:lnTo>
                  <a:lnTo>
                    <a:pt x="1113" y="168"/>
                  </a:lnTo>
                  <a:lnTo>
                    <a:pt x="1092" y="180"/>
                  </a:lnTo>
                  <a:lnTo>
                    <a:pt x="1113" y="182"/>
                  </a:lnTo>
                  <a:lnTo>
                    <a:pt x="1130" y="186"/>
                  </a:lnTo>
                  <a:lnTo>
                    <a:pt x="1150" y="192"/>
                  </a:lnTo>
                  <a:lnTo>
                    <a:pt x="1167" y="195"/>
                  </a:lnTo>
                  <a:lnTo>
                    <a:pt x="1198" y="209"/>
                  </a:lnTo>
                  <a:lnTo>
                    <a:pt x="1226" y="224"/>
                  </a:lnTo>
                  <a:lnTo>
                    <a:pt x="1251" y="243"/>
                  </a:lnTo>
                  <a:lnTo>
                    <a:pt x="1274" y="264"/>
                  </a:lnTo>
                  <a:lnTo>
                    <a:pt x="1296" y="286"/>
                  </a:lnTo>
                  <a:lnTo>
                    <a:pt x="1315" y="311"/>
                  </a:lnTo>
                  <a:lnTo>
                    <a:pt x="1332" y="337"/>
                  </a:lnTo>
                  <a:lnTo>
                    <a:pt x="1347" y="364"/>
                  </a:lnTo>
                  <a:lnTo>
                    <a:pt x="1363" y="391"/>
                  </a:lnTo>
                  <a:lnTo>
                    <a:pt x="1376" y="422"/>
                  </a:lnTo>
                  <a:lnTo>
                    <a:pt x="1401" y="481"/>
                  </a:lnTo>
                  <a:lnTo>
                    <a:pt x="1426" y="541"/>
                  </a:lnTo>
                  <a:lnTo>
                    <a:pt x="1436" y="564"/>
                  </a:lnTo>
                  <a:lnTo>
                    <a:pt x="1447" y="585"/>
                  </a:lnTo>
                  <a:lnTo>
                    <a:pt x="1461" y="606"/>
                  </a:lnTo>
                  <a:lnTo>
                    <a:pt x="1474" y="625"/>
                  </a:lnTo>
                  <a:lnTo>
                    <a:pt x="1488" y="645"/>
                  </a:lnTo>
                  <a:lnTo>
                    <a:pt x="1503" y="662"/>
                  </a:lnTo>
                  <a:lnTo>
                    <a:pt x="1520" y="677"/>
                  </a:lnTo>
                  <a:lnTo>
                    <a:pt x="1538" y="693"/>
                  </a:lnTo>
                  <a:lnTo>
                    <a:pt x="1555" y="708"/>
                  </a:lnTo>
                  <a:lnTo>
                    <a:pt x="1576" y="721"/>
                  </a:lnTo>
                  <a:lnTo>
                    <a:pt x="1595" y="733"/>
                  </a:lnTo>
                  <a:lnTo>
                    <a:pt x="1616" y="744"/>
                  </a:lnTo>
                  <a:lnTo>
                    <a:pt x="1639" y="754"/>
                  </a:lnTo>
                  <a:lnTo>
                    <a:pt x="1662" y="764"/>
                  </a:lnTo>
                  <a:lnTo>
                    <a:pt x="1687" y="771"/>
                  </a:lnTo>
                  <a:lnTo>
                    <a:pt x="1714" y="779"/>
                  </a:lnTo>
                  <a:lnTo>
                    <a:pt x="1703" y="785"/>
                  </a:lnTo>
                  <a:lnTo>
                    <a:pt x="1687" y="790"/>
                  </a:lnTo>
                  <a:lnTo>
                    <a:pt x="1672" y="796"/>
                  </a:lnTo>
                  <a:lnTo>
                    <a:pt x="1651" y="802"/>
                  </a:lnTo>
                  <a:lnTo>
                    <a:pt x="1630" y="806"/>
                  </a:lnTo>
                  <a:lnTo>
                    <a:pt x="1605" y="810"/>
                  </a:lnTo>
                  <a:lnTo>
                    <a:pt x="1578" y="812"/>
                  </a:lnTo>
                  <a:lnTo>
                    <a:pt x="1551" y="812"/>
                  </a:lnTo>
                  <a:lnTo>
                    <a:pt x="1518" y="812"/>
                  </a:lnTo>
                  <a:lnTo>
                    <a:pt x="1490" y="808"/>
                  </a:lnTo>
                  <a:lnTo>
                    <a:pt x="1461" y="802"/>
                  </a:lnTo>
                  <a:lnTo>
                    <a:pt x="1432" y="796"/>
                  </a:lnTo>
                  <a:lnTo>
                    <a:pt x="1405" y="787"/>
                  </a:lnTo>
                  <a:lnTo>
                    <a:pt x="1378" y="777"/>
                  </a:lnTo>
                  <a:lnTo>
                    <a:pt x="1353" y="765"/>
                  </a:lnTo>
                  <a:lnTo>
                    <a:pt x="1328" y="752"/>
                  </a:lnTo>
                  <a:lnTo>
                    <a:pt x="1303" y="737"/>
                  </a:lnTo>
                  <a:lnTo>
                    <a:pt x="1280" y="721"/>
                  </a:lnTo>
                  <a:lnTo>
                    <a:pt x="1257" y="702"/>
                  </a:lnTo>
                  <a:lnTo>
                    <a:pt x="1234" y="685"/>
                  </a:lnTo>
                  <a:lnTo>
                    <a:pt x="1188" y="643"/>
                  </a:lnTo>
                  <a:lnTo>
                    <a:pt x="1142" y="598"/>
                  </a:lnTo>
                  <a:lnTo>
                    <a:pt x="1102" y="558"/>
                  </a:lnTo>
                  <a:lnTo>
                    <a:pt x="1059" y="518"/>
                  </a:lnTo>
                  <a:lnTo>
                    <a:pt x="1036" y="501"/>
                  </a:lnTo>
                  <a:lnTo>
                    <a:pt x="1013" y="483"/>
                  </a:lnTo>
                  <a:lnTo>
                    <a:pt x="990" y="466"/>
                  </a:lnTo>
                  <a:lnTo>
                    <a:pt x="965" y="451"/>
                  </a:lnTo>
                  <a:lnTo>
                    <a:pt x="938" y="435"/>
                  </a:lnTo>
                  <a:lnTo>
                    <a:pt x="912" y="424"/>
                  </a:lnTo>
                  <a:lnTo>
                    <a:pt x="883" y="412"/>
                  </a:lnTo>
                  <a:lnTo>
                    <a:pt x="854" y="403"/>
                  </a:lnTo>
                  <a:lnTo>
                    <a:pt x="821" y="395"/>
                  </a:lnTo>
                  <a:lnTo>
                    <a:pt x="789" y="389"/>
                  </a:lnTo>
                  <a:lnTo>
                    <a:pt x="754" y="385"/>
                  </a:lnTo>
                  <a:lnTo>
                    <a:pt x="718" y="385"/>
                  </a:lnTo>
                  <a:lnTo>
                    <a:pt x="683" y="385"/>
                  </a:lnTo>
                  <a:lnTo>
                    <a:pt x="649" y="389"/>
                  </a:lnTo>
                  <a:lnTo>
                    <a:pt x="620" y="395"/>
                  </a:lnTo>
                  <a:lnTo>
                    <a:pt x="591" y="403"/>
                  </a:lnTo>
                  <a:lnTo>
                    <a:pt x="568" y="410"/>
                  </a:lnTo>
                  <a:lnTo>
                    <a:pt x="547" y="418"/>
                  </a:lnTo>
                  <a:lnTo>
                    <a:pt x="531" y="426"/>
                  </a:lnTo>
                  <a:lnTo>
                    <a:pt x="520" y="433"/>
                  </a:lnTo>
                  <a:lnTo>
                    <a:pt x="562" y="441"/>
                  </a:lnTo>
                  <a:lnTo>
                    <a:pt x="608" y="455"/>
                  </a:lnTo>
                  <a:lnTo>
                    <a:pt x="631" y="464"/>
                  </a:lnTo>
                  <a:lnTo>
                    <a:pt x="652" y="474"/>
                  </a:lnTo>
                  <a:lnTo>
                    <a:pt x="675" y="483"/>
                  </a:lnTo>
                  <a:lnTo>
                    <a:pt x="695" y="495"/>
                  </a:lnTo>
                  <a:lnTo>
                    <a:pt x="716" y="508"/>
                  </a:lnTo>
                  <a:lnTo>
                    <a:pt x="733" y="522"/>
                  </a:lnTo>
                  <a:lnTo>
                    <a:pt x="748" y="537"/>
                  </a:lnTo>
                  <a:lnTo>
                    <a:pt x="764" y="554"/>
                  </a:lnTo>
                  <a:lnTo>
                    <a:pt x="773" y="572"/>
                  </a:lnTo>
                  <a:lnTo>
                    <a:pt x="783" y="591"/>
                  </a:lnTo>
                  <a:lnTo>
                    <a:pt x="789" y="610"/>
                  </a:lnTo>
                  <a:lnTo>
                    <a:pt x="791" y="631"/>
                  </a:lnTo>
                  <a:lnTo>
                    <a:pt x="789" y="648"/>
                  </a:lnTo>
                  <a:lnTo>
                    <a:pt x="785" y="666"/>
                  </a:lnTo>
                  <a:lnTo>
                    <a:pt x="779" y="679"/>
                  </a:lnTo>
                  <a:lnTo>
                    <a:pt x="771" y="693"/>
                  </a:lnTo>
                  <a:lnTo>
                    <a:pt x="762" y="704"/>
                  </a:lnTo>
                  <a:lnTo>
                    <a:pt x="750" y="714"/>
                  </a:lnTo>
                  <a:lnTo>
                    <a:pt x="739" y="719"/>
                  </a:lnTo>
                  <a:lnTo>
                    <a:pt x="723" y="725"/>
                  </a:lnTo>
                  <a:lnTo>
                    <a:pt x="710" y="727"/>
                  </a:lnTo>
                  <a:lnTo>
                    <a:pt x="693" y="727"/>
                  </a:lnTo>
                  <a:lnTo>
                    <a:pt x="677" y="725"/>
                  </a:lnTo>
                  <a:lnTo>
                    <a:pt x="660" y="721"/>
                  </a:lnTo>
                  <a:lnTo>
                    <a:pt x="643" y="714"/>
                  </a:lnTo>
                  <a:lnTo>
                    <a:pt x="626" y="702"/>
                  </a:lnTo>
                  <a:lnTo>
                    <a:pt x="608" y="689"/>
                  </a:lnTo>
                  <a:lnTo>
                    <a:pt x="591" y="673"/>
                  </a:lnTo>
                  <a:lnTo>
                    <a:pt x="572" y="654"/>
                  </a:lnTo>
                  <a:lnTo>
                    <a:pt x="553" y="635"/>
                  </a:lnTo>
                  <a:lnTo>
                    <a:pt x="531" y="618"/>
                  </a:lnTo>
                  <a:lnTo>
                    <a:pt x="508" y="600"/>
                  </a:lnTo>
                  <a:lnTo>
                    <a:pt x="485" y="583"/>
                  </a:lnTo>
                  <a:lnTo>
                    <a:pt x="462" y="568"/>
                  </a:lnTo>
                  <a:lnTo>
                    <a:pt x="439" y="554"/>
                  </a:lnTo>
                  <a:lnTo>
                    <a:pt x="414" y="541"/>
                  </a:lnTo>
                  <a:lnTo>
                    <a:pt x="387" y="529"/>
                  </a:lnTo>
                  <a:lnTo>
                    <a:pt x="361" y="520"/>
                  </a:lnTo>
                  <a:lnTo>
                    <a:pt x="334" y="510"/>
                  </a:lnTo>
                  <a:lnTo>
                    <a:pt x="307" y="503"/>
                  </a:lnTo>
                  <a:lnTo>
                    <a:pt x="278" y="497"/>
                  </a:lnTo>
                  <a:lnTo>
                    <a:pt x="249" y="491"/>
                  </a:lnTo>
                  <a:lnTo>
                    <a:pt x="220" y="489"/>
                  </a:lnTo>
                  <a:lnTo>
                    <a:pt x="192" y="489"/>
                  </a:lnTo>
                  <a:lnTo>
                    <a:pt x="161" y="489"/>
                  </a:lnTo>
                  <a:lnTo>
                    <a:pt x="132" y="493"/>
                  </a:lnTo>
                  <a:lnTo>
                    <a:pt x="103" y="499"/>
                  </a:lnTo>
                  <a:lnTo>
                    <a:pt x="78" y="504"/>
                  </a:lnTo>
                  <a:lnTo>
                    <a:pt x="53" y="514"/>
                  </a:lnTo>
                  <a:lnTo>
                    <a:pt x="32" y="524"/>
                  </a:lnTo>
                  <a:lnTo>
                    <a:pt x="13" y="535"/>
                  </a:lnTo>
                  <a:lnTo>
                    <a:pt x="0" y="547"/>
                  </a:lnTo>
                  <a:lnTo>
                    <a:pt x="34" y="550"/>
                  </a:lnTo>
                  <a:lnTo>
                    <a:pt x="67" y="558"/>
                  </a:lnTo>
                  <a:lnTo>
                    <a:pt x="98" y="570"/>
                  </a:lnTo>
                  <a:lnTo>
                    <a:pt x="128" y="581"/>
                  </a:lnTo>
                  <a:lnTo>
                    <a:pt x="157" y="597"/>
                  </a:lnTo>
                  <a:lnTo>
                    <a:pt x="184" y="616"/>
                  </a:lnTo>
                  <a:lnTo>
                    <a:pt x="211" y="637"/>
                  </a:lnTo>
                  <a:lnTo>
                    <a:pt x="236" y="660"/>
                  </a:lnTo>
                  <a:lnTo>
                    <a:pt x="261" y="687"/>
                  </a:lnTo>
                  <a:lnTo>
                    <a:pt x="284" y="718"/>
                  </a:lnTo>
                  <a:lnTo>
                    <a:pt x="307" y="750"/>
                  </a:lnTo>
                  <a:lnTo>
                    <a:pt x="330" y="785"/>
                  </a:lnTo>
                  <a:lnTo>
                    <a:pt x="353" y="825"/>
                  </a:lnTo>
                  <a:lnTo>
                    <a:pt x="374" y="867"/>
                  </a:lnTo>
                  <a:lnTo>
                    <a:pt x="397" y="913"/>
                  </a:lnTo>
                  <a:lnTo>
                    <a:pt x="418" y="961"/>
                  </a:lnTo>
                  <a:lnTo>
                    <a:pt x="432" y="990"/>
                  </a:lnTo>
                  <a:lnTo>
                    <a:pt x="445" y="1019"/>
                  </a:lnTo>
                  <a:lnTo>
                    <a:pt x="460" y="1046"/>
                  </a:lnTo>
                  <a:lnTo>
                    <a:pt x="476" y="1073"/>
                  </a:lnTo>
                  <a:lnTo>
                    <a:pt x="493" y="1100"/>
                  </a:lnTo>
                  <a:lnTo>
                    <a:pt x="512" y="1124"/>
                  </a:lnTo>
                  <a:lnTo>
                    <a:pt x="531" y="1148"/>
                  </a:lnTo>
                  <a:lnTo>
                    <a:pt x="554" y="1169"/>
                  </a:lnTo>
                  <a:lnTo>
                    <a:pt x="578" y="1190"/>
                  </a:lnTo>
                  <a:lnTo>
                    <a:pt x="604" y="1207"/>
                  </a:lnTo>
                  <a:lnTo>
                    <a:pt x="633" y="1222"/>
                  </a:lnTo>
                  <a:lnTo>
                    <a:pt x="664" y="1236"/>
                  </a:lnTo>
                  <a:lnTo>
                    <a:pt x="698" y="1247"/>
                  </a:lnTo>
                  <a:lnTo>
                    <a:pt x="735" y="1255"/>
                  </a:lnTo>
                  <a:lnTo>
                    <a:pt x="775" y="1261"/>
                  </a:lnTo>
                  <a:lnTo>
                    <a:pt x="818" y="1263"/>
                  </a:lnTo>
                  <a:lnTo>
                    <a:pt x="860" y="1263"/>
                  </a:lnTo>
                  <a:lnTo>
                    <a:pt x="906" y="1257"/>
                  </a:lnTo>
                  <a:lnTo>
                    <a:pt x="954" y="1253"/>
                  </a:lnTo>
                  <a:lnTo>
                    <a:pt x="1000" y="1249"/>
                  </a:lnTo>
                  <a:lnTo>
                    <a:pt x="1025" y="1249"/>
                  </a:lnTo>
                  <a:lnTo>
                    <a:pt x="1048" y="1251"/>
                  </a:lnTo>
                  <a:lnTo>
                    <a:pt x="1071" y="1253"/>
                  </a:lnTo>
                  <a:lnTo>
                    <a:pt x="1092" y="1257"/>
                  </a:lnTo>
                  <a:lnTo>
                    <a:pt x="1113" y="1265"/>
                  </a:lnTo>
                  <a:lnTo>
                    <a:pt x="1134" y="1274"/>
                  </a:lnTo>
                  <a:lnTo>
                    <a:pt x="1154" y="1286"/>
                  </a:lnTo>
                  <a:lnTo>
                    <a:pt x="1171" y="1299"/>
                  </a:lnTo>
                  <a:lnTo>
                    <a:pt x="1184" y="1316"/>
                  </a:lnTo>
                  <a:lnTo>
                    <a:pt x="1198" y="1332"/>
                  </a:lnTo>
                  <a:lnTo>
                    <a:pt x="1207" y="1349"/>
                  </a:lnTo>
                  <a:lnTo>
                    <a:pt x="1215" y="1366"/>
                  </a:lnTo>
                  <a:lnTo>
                    <a:pt x="1223" y="1384"/>
                  </a:lnTo>
                  <a:lnTo>
                    <a:pt x="1228" y="1401"/>
                  </a:lnTo>
                  <a:lnTo>
                    <a:pt x="1232" y="1418"/>
                  </a:lnTo>
                  <a:lnTo>
                    <a:pt x="1236" y="1435"/>
                  </a:lnTo>
                  <a:lnTo>
                    <a:pt x="1242" y="1472"/>
                  </a:lnTo>
                  <a:lnTo>
                    <a:pt x="1248" y="1508"/>
                  </a:lnTo>
                  <a:lnTo>
                    <a:pt x="1250" y="1526"/>
                  </a:lnTo>
                  <a:lnTo>
                    <a:pt x="1255" y="1543"/>
                  </a:lnTo>
                  <a:lnTo>
                    <a:pt x="1259" y="1560"/>
                  </a:lnTo>
                  <a:lnTo>
                    <a:pt x="1267" y="1578"/>
                  </a:lnTo>
                  <a:lnTo>
                    <a:pt x="1276" y="1597"/>
                  </a:lnTo>
                  <a:lnTo>
                    <a:pt x="1288" y="1616"/>
                  </a:lnTo>
                  <a:lnTo>
                    <a:pt x="1299" y="1633"/>
                  </a:lnTo>
                  <a:lnTo>
                    <a:pt x="1313" y="1649"/>
                  </a:lnTo>
                  <a:lnTo>
                    <a:pt x="1328" y="1664"/>
                  </a:lnTo>
                  <a:lnTo>
                    <a:pt x="1346" y="1677"/>
                  </a:lnTo>
                  <a:lnTo>
                    <a:pt x="1365" y="1691"/>
                  </a:lnTo>
                  <a:lnTo>
                    <a:pt x="1386" y="1702"/>
                  </a:lnTo>
                  <a:lnTo>
                    <a:pt x="1407" y="1712"/>
                  </a:lnTo>
                  <a:lnTo>
                    <a:pt x="1432" y="1721"/>
                  </a:lnTo>
                  <a:lnTo>
                    <a:pt x="1457" y="1729"/>
                  </a:lnTo>
                  <a:lnTo>
                    <a:pt x="1486" y="1737"/>
                  </a:lnTo>
                  <a:lnTo>
                    <a:pt x="1514" y="1743"/>
                  </a:lnTo>
                  <a:lnTo>
                    <a:pt x="1547" y="1746"/>
                  </a:lnTo>
                  <a:lnTo>
                    <a:pt x="1580" y="1750"/>
                  </a:lnTo>
                  <a:lnTo>
                    <a:pt x="1616" y="1754"/>
                  </a:lnTo>
                  <a:lnTo>
                    <a:pt x="1601" y="1766"/>
                  </a:lnTo>
                  <a:lnTo>
                    <a:pt x="1584" y="1777"/>
                  </a:lnTo>
                  <a:lnTo>
                    <a:pt x="1564" y="1787"/>
                  </a:lnTo>
                  <a:lnTo>
                    <a:pt x="1545" y="1794"/>
                  </a:lnTo>
                  <a:lnTo>
                    <a:pt x="1524" y="1802"/>
                  </a:lnTo>
                  <a:lnTo>
                    <a:pt x="1503" y="1808"/>
                  </a:lnTo>
                  <a:lnTo>
                    <a:pt x="1480" y="1814"/>
                  </a:lnTo>
                  <a:lnTo>
                    <a:pt x="1457" y="1817"/>
                  </a:lnTo>
                  <a:lnTo>
                    <a:pt x="1434" y="1821"/>
                  </a:lnTo>
                  <a:lnTo>
                    <a:pt x="1409" y="1823"/>
                  </a:lnTo>
                  <a:lnTo>
                    <a:pt x="1384" y="1823"/>
                  </a:lnTo>
                  <a:lnTo>
                    <a:pt x="1359" y="1823"/>
                  </a:lnTo>
                  <a:lnTo>
                    <a:pt x="1309" y="1821"/>
                  </a:lnTo>
                  <a:lnTo>
                    <a:pt x="1257" y="1816"/>
                  </a:lnTo>
                  <a:lnTo>
                    <a:pt x="1207" y="1806"/>
                  </a:lnTo>
                  <a:lnTo>
                    <a:pt x="1157" y="1793"/>
                  </a:lnTo>
                  <a:lnTo>
                    <a:pt x="1109" y="1777"/>
                  </a:lnTo>
                  <a:lnTo>
                    <a:pt x="1063" y="1760"/>
                  </a:lnTo>
                  <a:lnTo>
                    <a:pt x="1021" y="1739"/>
                  </a:lnTo>
                  <a:lnTo>
                    <a:pt x="983" y="1718"/>
                  </a:lnTo>
                  <a:lnTo>
                    <a:pt x="965" y="1706"/>
                  </a:lnTo>
                  <a:lnTo>
                    <a:pt x="950" y="1693"/>
                  </a:lnTo>
                  <a:lnTo>
                    <a:pt x="935" y="1679"/>
                  </a:lnTo>
                  <a:lnTo>
                    <a:pt x="921" y="1668"/>
                  </a:lnTo>
                  <a:lnTo>
                    <a:pt x="923" y="1700"/>
                  </a:lnTo>
                  <a:lnTo>
                    <a:pt x="927" y="1733"/>
                  </a:lnTo>
                  <a:lnTo>
                    <a:pt x="933" y="1766"/>
                  </a:lnTo>
                  <a:lnTo>
                    <a:pt x="940" y="1798"/>
                  </a:lnTo>
                  <a:lnTo>
                    <a:pt x="948" y="1829"/>
                  </a:lnTo>
                  <a:lnTo>
                    <a:pt x="960" y="1860"/>
                  </a:lnTo>
                  <a:lnTo>
                    <a:pt x="971" y="1890"/>
                  </a:lnTo>
                  <a:lnTo>
                    <a:pt x="985" y="1919"/>
                  </a:lnTo>
                  <a:lnTo>
                    <a:pt x="998" y="1948"/>
                  </a:lnTo>
                  <a:lnTo>
                    <a:pt x="1015" y="1975"/>
                  </a:lnTo>
                  <a:lnTo>
                    <a:pt x="1033" y="2002"/>
                  </a:lnTo>
                  <a:lnTo>
                    <a:pt x="1052" y="2027"/>
                  </a:lnTo>
                  <a:lnTo>
                    <a:pt x="1073" y="2052"/>
                  </a:lnTo>
                  <a:lnTo>
                    <a:pt x="1096" y="2075"/>
                  </a:lnTo>
                  <a:lnTo>
                    <a:pt x="1121" y="2096"/>
                  </a:lnTo>
                  <a:lnTo>
                    <a:pt x="1146" y="2117"/>
                  </a:lnTo>
                  <a:lnTo>
                    <a:pt x="1173" y="2136"/>
                  </a:lnTo>
                  <a:lnTo>
                    <a:pt x="1202" y="2153"/>
                  </a:lnTo>
                  <a:lnTo>
                    <a:pt x="1232" y="2169"/>
                  </a:lnTo>
                  <a:lnTo>
                    <a:pt x="1265" y="2182"/>
                  </a:lnTo>
                  <a:lnTo>
                    <a:pt x="1298" y="2196"/>
                  </a:lnTo>
                  <a:lnTo>
                    <a:pt x="1334" y="2205"/>
                  </a:lnTo>
                  <a:lnTo>
                    <a:pt x="1370" y="2215"/>
                  </a:lnTo>
                  <a:lnTo>
                    <a:pt x="1409" y="2221"/>
                  </a:lnTo>
                  <a:lnTo>
                    <a:pt x="1447" y="2224"/>
                  </a:lnTo>
                  <a:lnTo>
                    <a:pt x="1490" y="2226"/>
                  </a:lnTo>
                  <a:lnTo>
                    <a:pt x="1534" y="2226"/>
                  </a:lnTo>
                  <a:lnTo>
                    <a:pt x="1578" y="2224"/>
                  </a:lnTo>
                  <a:lnTo>
                    <a:pt x="1624" y="2219"/>
                  </a:lnTo>
                  <a:lnTo>
                    <a:pt x="1672" y="2213"/>
                  </a:lnTo>
                  <a:lnTo>
                    <a:pt x="1722" y="2201"/>
                  </a:lnTo>
                  <a:lnTo>
                    <a:pt x="1772" y="2190"/>
                  </a:lnTo>
                  <a:lnTo>
                    <a:pt x="1808" y="2182"/>
                  </a:lnTo>
                  <a:lnTo>
                    <a:pt x="1839" y="2178"/>
                  </a:lnTo>
                  <a:lnTo>
                    <a:pt x="1854" y="2178"/>
                  </a:lnTo>
                  <a:lnTo>
                    <a:pt x="1870" y="2180"/>
                  </a:lnTo>
                  <a:lnTo>
                    <a:pt x="1883" y="2182"/>
                  </a:lnTo>
                  <a:lnTo>
                    <a:pt x="1897" y="2186"/>
                  </a:lnTo>
                  <a:lnTo>
                    <a:pt x="1908" y="2192"/>
                  </a:lnTo>
                  <a:lnTo>
                    <a:pt x="1920" y="2199"/>
                  </a:lnTo>
                  <a:lnTo>
                    <a:pt x="1931" y="2207"/>
                  </a:lnTo>
                  <a:lnTo>
                    <a:pt x="1941" y="2217"/>
                  </a:lnTo>
                  <a:lnTo>
                    <a:pt x="1950" y="2228"/>
                  </a:lnTo>
                  <a:lnTo>
                    <a:pt x="1960" y="2244"/>
                  </a:lnTo>
                  <a:lnTo>
                    <a:pt x="1968" y="2259"/>
                  </a:lnTo>
                  <a:lnTo>
                    <a:pt x="1975" y="2276"/>
                  </a:lnTo>
                  <a:lnTo>
                    <a:pt x="1985" y="2299"/>
                  </a:lnTo>
                  <a:lnTo>
                    <a:pt x="1996" y="2320"/>
                  </a:lnTo>
                  <a:lnTo>
                    <a:pt x="2010" y="2340"/>
                  </a:lnTo>
                  <a:lnTo>
                    <a:pt x="2025" y="2357"/>
                  </a:lnTo>
                  <a:lnTo>
                    <a:pt x="2041" y="2370"/>
                  </a:lnTo>
                  <a:lnTo>
                    <a:pt x="2058" y="2384"/>
                  </a:lnTo>
                  <a:lnTo>
                    <a:pt x="2075" y="2393"/>
                  </a:lnTo>
                  <a:lnTo>
                    <a:pt x="2094" y="2403"/>
                  </a:lnTo>
                  <a:lnTo>
                    <a:pt x="2114" y="2409"/>
                  </a:lnTo>
                  <a:lnTo>
                    <a:pt x="2133" y="2414"/>
                  </a:lnTo>
                  <a:lnTo>
                    <a:pt x="2154" y="2418"/>
                  </a:lnTo>
                  <a:lnTo>
                    <a:pt x="2175" y="2420"/>
                  </a:lnTo>
                  <a:lnTo>
                    <a:pt x="2196" y="2420"/>
                  </a:lnTo>
                  <a:lnTo>
                    <a:pt x="2217" y="2420"/>
                  </a:lnTo>
                  <a:lnTo>
                    <a:pt x="2238" y="2420"/>
                  </a:lnTo>
                  <a:lnTo>
                    <a:pt x="2259" y="2418"/>
                  </a:lnTo>
                  <a:lnTo>
                    <a:pt x="2307" y="2413"/>
                  </a:lnTo>
                  <a:lnTo>
                    <a:pt x="2354" y="2409"/>
                  </a:lnTo>
                  <a:lnTo>
                    <a:pt x="2396" y="2409"/>
                  </a:lnTo>
                  <a:lnTo>
                    <a:pt x="2438" y="2411"/>
                  </a:lnTo>
                  <a:lnTo>
                    <a:pt x="2476" y="2413"/>
                  </a:lnTo>
                  <a:lnTo>
                    <a:pt x="2515" y="2418"/>
                  </a:lnTo>
                  <a:lnTo>
                    <a:pt x="2549" y="2428"/>
                  </a:lnTo>
                  <a:lnTo>
                    <a:pt x="2584" y="2438"/>
                  </a:lnTo>
                  <a:lnTo>
                    <a:pt x="2618" y="2451"/>
                  </a:lnTo>
                  <a:lnTo>
                    <a:pt x="2649" y="2466"/>
                  </a:lnTo>
                  <a:lnTo>
                    <a:pt x="2680" y="2485"/>
                  </a:lnTo>
                  <a:lnTo>
                    <a:pt x="2711" y="2505"/>
                  </a:lnTo>
                  <a:lnTo>
                    <a:pt x="2739" y="2530"/>
                  </a:lnTo>
                  <a:lnTo>
                    <a:pt x="2768" y="2555"/>
                  </a:lnTo>
                  <a:lnTo>
                    <a:pt x="2797" y="2585"/>
                  </a:lnTo>
                  <a:lnTo>
                    <a:pt x="2826" y="2616"/>
                  </a:lnTo>
                  <a:lnTo>
                    <a:pt x="2828" y="2589"/>
                  </a:lnTo>
                  <a:lnTo>
                    <a:pt x="2830" y="2562"/>
                  </a:lnTo>
                  <a:lnTo>
                    <a:pt x="2828" y="2537"/>
                  </a:lnTo>
                  <a:lnTo>
                    <a:pt x="2828" y="2510"/>
                  </a:lnTo>
                  <a:lnTo>
                    <a:pt x="2824" y="2487"/>
                  </a:lnTo>
                  <a:lnTo>
                    <a:pt x="2820" y="2462"/>
                  </a:lnTo>
                  <a:lnTo>
                    <a:pt x="2816" y="2439"/>
                  </a:lnTo>
                  <a:lnTo>
                    <a:pt x="2809" y="2416"/>
                  </a:lnTo>
                  <a:lnTo>
                    <a:pt x="2803" y="2395"/>
                  </a:lnTo>
                  <a:lnTo>
                    <a:pt x="2795" y="2374"/>
                  </a:lnTo>
                  <a:lnTo>
                    <a:pt x="2786" y="2353"/>
                  </a:lnTo>
                  <a:lnTo>
                    <a:pt x="2776" y="2334"/>
                  </a:lnTo>
                  <a:lnTo>
                    <a:pt x="2755" y="2295"/>
                  </a:lnTo>
                  <a:lnTo>
                    <a:pt x="2732" y="2261"/>
                  </a:lnTo>
                  <a:lnTo>
                    <a:pt x="2707" y="2226"/>
                  </a:lnTo>
                  <a:lnTo>
                    <a:pt x="2680" y="2198"/>
                  </a:lnTo>
                  <a:lnTo>
                    <a:pt x="2651" y="2169"/>
                  </a:lnTo>
                  <a:lnTo>
                    <a:pt x="2622" y="2144"/>
                  </a:lnTo>
                  <a:lnTo>
                    <a:pt x="2594" y="2119"/>
                  </a:lnTo>
                  <a:lnTo>
                    <a:pt x="2567" y="2098"/>
                  </a:lnTo>
                  <a:lnTo>
                    <a:pt x="2540" y="2080"/>
                  </a:lnTo>
                  <a:lnTo>
                    <a:pt x="2513" y="2063"/>
                  </a:lnTo>
                  <a:lnTo>
                    <a:pt x="2490" y="2048"/>
                  </a:lnTo>
                  <a:lnTo>
                    <a:pt x="2471" y="2032"/>
                  </a:lnTo>
                  <a:lnTo>
                    <a:pt x="2453" y="2019"/>
                  </a:lnTo>
                  <a:lnTo>
                    <a:pt x="2438" y="2004"/>
                  </a:lnTo>
                  <a:lnTo>
                    <a:pt x="2425" y="1988"/>
                  </a:lnTo>
                  <a:lnTo>
                    <a:pt x="2413" y="1973"/>
                  </a:lnTo>
                  <a:lnTo>
                    <a:pt x="2403" y="1960"/>
                  </a:lnTo>
                  <a:lnTo>
                    <a:pt x="2396" y="1944"/>
                  </a:lnTo>
                  <a:lnTo>
                    <a:pt x="2390" y="1931"/>
                  </a:lnTo>
                  <a:lnTo>
                    <a:pt x="2384" y="1915"/>
                  </a:lnTo>
                  <a:lnTo>
                    <a:pt x="2380" y="1902"/>
                  </a:lnTo>
                  <a:lnTo>
                    <a:pt x="2377" y="1888"/>
                  </a:lnTo>
                  <a:lnTo>
                    <a:pt x="2375" y="1862"/>
                  </a:lnTo>
                  <a:lnTo>
                    <a:pt x="2373" y="1837"/>
                  </a:lnTo>
                  <a:lnTo>
                    <a:pt x="2390" y="1856"/>
                  </a:lnTo>
                  <a:lnTo>
                    <a:pt x="2407" y="1873"/>
                  </a:lnTo>
                  <a:lnTo>
                    <a:pt x="2426" y="1890"/>
                  </a:lnTo>
                  <a:lnTo>
                    <a:pt x="2446" y="1906"/>
                  </a:lnTo>
                  <a:lnTo>
                    <a:pt x="2467" y="1919"/>
                  </a:lnTo>
                  <a:lnTo>
                    <a:pt x="2486" y="1931"/>
                  </a:lnTo>
                  <a:lnTo>
                    <a:pt x="2507" y="1942"/>
                  </a:lnTo>
                  <a:lnTo>
                    <a:pt x="2528" y="1954"/>
                  </a:lnTo>
                  <a:lnTo>
                    <a:pt x="2549" y="1963"/>
                  </a:lnTo>
                  <a:lnTo>
                    <a:pt x="2572" y="1971"/>
                  </a:lnTo>
                  <a:lnTo>
                    <a:pt x="2594" y="1979"/>
                  </a:lnTo>
                  <a:lnTo>
                    <a:pt x="2617" y="1986"/>
                  </a:lnTo>
                  <a:lnTo>
                    <a:pt x="2663" y="1996"/>
                  </a:lnTo>
                  <a:lnTo>
                    <a:pt x="2709" y="2004"/>
                  </a:lnTo>
                  <a:lnTo>
                    <a:pt x="2747" y="2009"/>
                  </a:lnTo>
                  <a:lnTo>
                    <a:pt x="2786" y="2017"/>
                  </a:lnTo>
                  <a:lnTo>
                    <a:pt x="2822" y="2025"/>
                  </a:lnTo>
                  <a:lnTo>
                    <a:pt x="2858" y="2032"/>
                  </a:lnTo>
                  <a:lnTo>
                    <a:pt x="2891" y="2042"/>
                  </a:lnTo>
                  <a:lnTo>
                    <a:pt x="2924" y="2052"/>
                  </a:lnTo>
                  <a:lnTo>
                    <a:pt x="2954" y="2063"/>
                  </a:lnTo>
                  <a:lnTo>
                    <a:pt x="2983" y="2075"/>
                  </a:lnTo>
                  <a:lnTo>
                    <a:pt x="3012" y="2088"/>
                  </a:lnTo>
                  <a:lnTo>
                    <a:pt x="3037" y="2102"/>
                  </a:lnTo>
                  <a:lnTo>
                    <a:pt x="3062" y="2117"/>
                  </a:lnTo>
                  <a:lnTo>
                    <a:pt x="3085" y="2134"/>
                  </a:lnTo>
                  <a:lnTo>
                    <a:pt x="3106" y="2151"/>
                  </a:lnTo>
                  <a:lnTo>
                    <a:pt x="3125" y="2169"/>
                  </a:lnTo>
                  <a:lnTo>
                    <a:pt x="3143" y="2188"/>
                  </a:lnTo>
                  <a:lnTo>
                    <a:pt x="3160" y="2209"/>
                  </a:lnTo>
                  <a:lnTo>
                    <a:pt x="3160" y="2180"/>
                  </a:lnTo>
                  <a:lnTo>
                    <a:pt x="3160" y="2151"/>
                  </a:lnTo>
                  <a:lnTo>
                    <a:pt x="3156" y="2125"/>
                  </a:lnTo>
                  <a:lnTo>
                    <a:pt x="3152" y="2100"/>
                  </a:lnTo>
                  <a:lnTo>
                    <a:pt x="3146" y="2075"/>
                  </a:lnTo>
                  <a:lnTo>
                    <a:pt x="3139" y="2052"/>
                  </a:lnTo>
                  <a:lnTo>
                    <a:pt x="3129" y="2029"/>
                  </a:lnTo>
                  <a:lnTo>
                    <a:pt x="3120" y="2008"/>
                  </a:lnTo>
                  <a:lnTo>
                    <a:pt x="3106" y="1988"/>
                  </a:lnTo>
                  <a:lnTo>
                    <a:pt x="3095" y="1969"/>
                  </a:lnTo>
                  <a:lnTo>
                    <a:pt x="3081" y="1950"/>
                  </a:lnTo>
                  <a:lnTo>
                    <a:pt x="3066" y="1933"/>
                  </a:lnTo>
                  <a:lnTo>
                    <a:pt x="3035" y="1900"/>
                  </a:lnTo>
                  <a:lnTo>
                    <a:pt x="3004" y="1871"/>
                  </a:lnTo>
                  <a:lnTo>
                    <a:pt x="2937" y="1817"/>
                  </a:lnTo>
                  <a:lnTo>
                    <a:pt x="2876" y="1769"/>
                  </a:lnTo>
                  <a:lnTo>
                    <a:pt x="2849" y="1746"/>
                  </a:lnTo>
                  <a:lnTo>
                    <a:pt x="2828" y="1721"/>
                  </a:lnTo>
                  <a:lnTo>
                    <a:pt x="2818" y="1710"/>
                  </a:lnTo>
                  <a:lnTo>
                    <a:pt x="2810" y="1698"/>
                  </a:lnTo>
                  <a:lnTo>
                    <a:pt x="2803" y="1685"/>
                  </a:lnTo>
                  <a:lnTo>
                    <a:pt x="2799" y="1673"/>
                  </a:lnTo>
                  <a:lnTo>
                    <a:pt x="2837" y="1698"/>
                  </a:lnTo>
                  <a:lnTo>
                    <a:pt x="2876" y="1718"/>
                  </a:lnTo>
                  <a:lnTo>
                    <a:pt x="2910" y="1735"/>
                  </a:lnTo>
                  <a:lnTo>
                    <a:pt x="2947" y="1746"/>
                  </a:lnTo>
                  <a:lnTo>
                    <a:pt x="2983" y="1756"/>
                  </a:lnTo>
                  <a:lnTo>
                    <a:pt x="3020" y="1760"/>
                  </a:lnTo>
                  <a:lnTo>
                    <a:pt x="3058" y="1762"/>
                  </a:lnTo>
                  <a:lnTo>
                    <a:pt x="3098" y="1760"/>
                  </a:lnTo>
                  <a:lnTo>
                    <a:pt x="3125" y="1758"/>
                  </a:lnTo>
                  <a:lnTo>
                    <a:pt x="3156" y="1752"/>
                  </a:lnTo>
                  <a:lnTo>
                    <a:pt x="3185" y="1746"/>
                  </a:lnTo>
                  <a:lnTo>
                    <a:pt x="3216" y="1739"/>
                  </a:lnTo>
                  <a:lnTo>
                    <a:pt x="3244" y="1733"/>
                  </a:lnTo>
                  <a:lnTo>
                    <a:pt x="3275" y="1727"/>
                  </a:lnTo>
                  <a:lnTo>
                    <a:pt x="3306" y="1723"/>
                  </a:lnTo>
                  <a:lnTo>
                    <a:pt x="3337" y="1721"/>
                  </a:lnTo>
                  <a:lnTo>
                    <a:pt x="3367" y="1721"/>
                  </a:lnTo>
                  <a:lnTo>
                    <a:pt x="3396" y="1725"/>
                  </a:lnTo>
                  <a:lnTo>
                    <a:pt x="3411" y="1729"/>
                  </a:lnTo>
                  <a:lnTo>
                    <a:pt x="3427" y="1735"/>
                  </a:lnTo>
                  <a:lnTo>
                    <a:pt x="3440" y="1741"/>
                  </a:lnTo>
                  <a:lnTo>
                    <a:pt x="3456" y="1746"/>
                  </a:lnTo>
                  <a:lnTo>
                    <a:pt x="3469" y="1756"/>
                  </a:lnTo>
                  <a:lnTo>
                    <a:pt x="3484" y="1766"/>
                  </a:lnTo>
                  <a:lnTo>
                    <a:pt x="3498" y="1777"/>
                  </a:lnTo>
                  <a:lnTo>
                    <a:pt x="3511" y="1791"/>
                  </a:lnTo>
                  <a:lnTo>
                    <a:pt x="3525" y="1806"/>
                  </a:lnTo>
                  <a:lnTo>
                    <a:pt x="3538" y="1823"/>
                  </a:lnTo>
                  <a:lnTo>
                    <a:pt x="3552" y="1840"/>
                  </a:lnTo>
                  <a:lnTo>
                    <a:pt x="3563" y="1862"/>
                  </a:lnTo>
                  <a:lnTo>
                    <a:pt x="3596" y="1842"/>
                  </a:lnTo>
                  <a:lnTo>
                    <a:pt x="3630" y="1827"/>
                  </a:lnTo>
                  <a:lnTo>
                    <a:pt x="3665" y="1814"/>
                  </a:lnTo>
                  <a:lnTo>
                    <a:pt x="3699" y="1804"/>
                  </a:lnTo>
                  <a:lnTo>
                    <a:pt x="3736" y="1798"/>
                  </a:lnTo>
                  <a:lnTo>
                    <a:pt x="3772" y="1794"/>
                  </a:lnTo>
                  <a:lnTo>
                    <a:pt x="3809" y="1794"/>
                  </a:lnTo>
                  <a:lnTo>
                    <a:pt x="3843" y="1796"/>
                  </a:lnTo>
                  <a:lnTo>
                    <a:pt x="3880" y="1800"/>
                  </a:lnTo>
                  <a:lnTo>
                    <a:pt x="3916" y="1808"/>
                  </a:lnTo>
                  <a:lnTo>
                    <a:pt x="3951" y="1816"/>
                  </a:lnTo>
                  <a:lnTo>
                    <a:pt x="3986" y="1827"/>
                  </a:lnTo>
                  <a:lnTo>
                    <a:pt x="4018" y="1839"/>
                  </a:lnTo>
                  <a:lnTo>
                    <a:pt x="4051" y="1854"/>
                  </a:lnTo>
                  <a:lnTo>
                    <a:pt x="4080" y="1869"/>
                  </a:lnTo>
                  <a:lnTo>
                    <a:pt x="4110" y="1887"/>
                  </a:lnTo>
                  <a:close/>
                  <a:moveTo>
                    <a:pt x="2246" y="1449"/>
                  </a:moveTo>
                  <a:lnTo>
                    <a:pt x="1862" y="1449"/>
                  </a:lnTo>
                  <a:lnTo>
                    <a:pt x="1862" y="1063"/>
                  </a:lnTo>
                  <a:lnTo>
                    <a:pt x="2246" y="1063"/>
                  </a:lnTo>
                  <a:lnTo>
                    <a:pt x="2246" y="1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350577788"/>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pPr>
              <a:defRPr/>
            </a:pPr>
            <a:fld id="{119B7758-116C-4140-B6DB-C1147B26C5EC}" type="datetime1">
              <a:rPr lang="en-GB" smtClean="0"/>
              <a:t>22/08/2025</a:t>
            </a:fld>
            <a:endParaRPr lang="fi-FI" dirty="0"/>
          </a:p>
        </p:txBody>
      </p:sp>
      <p:sp>
        <p:nvSpPr>
          <p:cNvPr id="6" name="Alatunnisteen paikkamerkki 5"/>
          <p:cNvSpPr>
            <a:spLocks noGrp="1"/>
          </p:cNvSpPr>
          <p:nvPr>
            <p:ph type="ftr" sz="quarter" idx="11"/>
          </p:nvPr>
        </p:nvSpPr>
        <p:spPr/>
        <p:txBody>
          <a:bodyPr/>
          <a:lstStyle/>
          <a:p>
            <a:r>
              <a:rPr lang="fi-FI"/>
              <a:t>Presentation Name / Firstname Lastname</a:t>
            </a:r>
            <a:endParaRPr lang="fi-FI" dirty="0"/>
          </a:p>
        </p:txBody>
      </p:sp>
      <p:sp>
        <p:nvSpPr>
          <p:cNvPr id="7" name="Dian numeron paikkamerkki 6"/>
          <p:cNvSpPr>
            <a:spLocks noGrp="1"/>
          </p:cNvSpPr>
          <p:nvPr>
            <p:ph type="sldNum" sz="quarter" idx="12"/>
          </p:nvPr>
        </p:nvSpPr>
        <p:spPr/>
        <p:txBody>
          <a:bodyPr/>
          <a:lstStyle/>
          <a:p>
            <a:pPr>
              <a:defRPr/>
            </a:pPr>
            <a:fld id="{4669315E-5A66-CF44-AE5D-C333B2F730C4}" type="slidenum">
              <a:rPr lang="en-GB" smtClean="0"/>
              <a:pPr>
                <a:defRPr/>
              </a:pPr>
              <a:t>‹#›</a:t>
            </a:fld>
            <a:endParaRPr lang="en-GB" dirty="0"/>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041325"/>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B2629B-F049-4CC7-9E46-6F6661039B13}"/>
              </a:ext>
            </a:extLst>
          </p:cNvPr>
          <p:cNvGraphicFramePr>
            <a:graphicFrameLocks noChangeAspect="1"/>
          </p:cNvGraphicFramePr>
          <p:nvPr userDrawn="1">
            <p:custDataLst>
              <p:tags r:id="rId1"/>
            </p:custDataLst>
            <p:extLst>
              <p:ext uri="{D42A27DB-BD31-4B8C-83A1-F6EECF244321}">
                <p14:modId xmlns:p14="http://schemas.microsoft.com/office/powerpoint/2010/main" val="24945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63" imgH="463" progId="TCLayout.ActiveDocument.1">
                  <p:embed/>
                </p:oleObj>
              </mc:Choice>
              <mc:Fallback>
                <p:oleObj name="think-cell Slide" r:id="rId4" imgW="463" imgH="463" progId="TCLayout.ActiveDocument.1">
                  <p:embed/>
                  <p:pic>
                    <p:nvPicPr>
                      <p:cNvPr id="8" name="Object 7" hidden="1">
                        <a:extLst>
                          <a:ext uri="{FF2B5EF4-FFF2-40B4-BE49-F238E27FC236}">
                            <a16:creationId xmlns:a16="http://schemas.microsoft.com/office/drawing/2014/main" id="{75B2629B-F049-4CC7-9E46-6F6661039B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51BB8DC-AFD2-410F-8D1C-F3EB77071D3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00"/>
              </a:lnSpc>
              <a:spcBef>
                <a:spcPct val="0"/>
              </a:spcBef>
              <a:spcAft>
                <a:spcPct val="0"/>
              </a:spcAft>
            </a:pPr>
            <a:endParaRPr lang="fi-FI" sz="2000" b="1" i="0" baseline="0" dirty="0">
              <a:latin typeface="Helvetica" panose="020B0604020202020204" pitchFamily="34" charset="0"/>
              <a:ea typeface="+mj-ea"/>
              <a:cs typeface="Arial"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623888" y="331200"/>
            <a:ext cx="9720000" cy="574675"/>
          </a:xfrm>
        </p:spPr>
        <p:txBody>
          <a:bodyPr>
            <a:noAutofit/>
          </a:body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fi-FI" dirty="0"/>
          </a:p>
        </p:txBody>
      </p:sp>
      <p:sp>
        <p:nvSpPr>
          <p:cNvPr id="5" name="Footer Placeholder 4">
            <a:extLst>
              <a:ext uri="{FF2B5EF4-FFF2-40B4-BE49-F238E27FC236}">
                <a16:creationId xmlns:a16="http://schemas.microsoft.com/office/drawing/2014/main" id="{7BCD3842-AB1E-49EE-8946-FCC4947592F8}"/>
              </a:ext>
            </a:extLst>
          </p:cNvPr>
          <p:cNvSpPr>
            <a:spLocks noGrp="1"/>
          </p:cNvSpPr>
          <p:nvPr>
            <p:ph type="ftr" sz="quarter" idx="11"/>
          </p:nvPr>
        </p:nvSpPr>
        <p:spPr>
          <a:xfrm>
            <a:off x="10246722" y="6451200"/>
            <a:ext cx="1295978" cy="216000"/>
          </a:xfrm>
          <a:prstGeom prst="rect">
            <a:avLst/>
          </a:prstGeom>
        </p:spPr>
        <p:txBody>
          <a:bodyPr lIns="0" tIns="0" rIns="36000" bIns="0" anchor="b">
            <a:noAutofit/>
          </a:bodyPr>
          <a:lstStyle>
            <a:lvl1pPr algn="r">
              <a:defRPr sz="900">
                <a:solidFill>
                  <a:schemeClr val="accent1"/>
                </a:solidFill>
              </a:defRPr>
            </a:lvl1pPr>
          </a:lstStyle>
          <a:p>
            <a:endParaRPr lang="fi-FI" dirty="0"/>
          </a:p>
        </p:txBody>
      </p:sp>
      <p:cxnSp>
        <p:nvCxnSpPr>
          <p:cNvPr id="14" name="Straight Connector 13">
            <a:extLst>
              <a:ext uri="{FF2B5EF4-FFF2-40B4-BE49-F238E27FC236}">
                <a16:creationId xmlns:a16="http://schemas.microsoft.com/office/drawing/2014/main" id="{B542105A-AE19-47F0-B4F5-460C7E2485D6}"/>
              </a:ext>
            </a:extLst>
          </p:cNvPr>
          <p:cNvCxnSpPr/>
          <p:nvPr userDrawn="1"/>
        </p:nvCxnSpPr>
        <p:spPr>
          <a:xfrm>
            <a:off x="623888" y="1195200"/>
            <a:ext cx="1094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9B25DD64-1ED3-49F6-9F3E-EB96B0D385CE}"/>
              </a:ext>
            </a:extLst>
          </p:cNvPr>
          <p:cNvSpPr>
            <a:spLocks noGrp="1"/>
          </p:cNvSpPr>
          <p:nvPr>
            <p:ph type="sldNum" sz="quarter" idx="12"/>
          </p:nvPr>
        </p:nvSpPr>
        <p:spPr>
          <a:xfrm>
            <a:off x="11566800" y="6451200"/>
            <a:ext cx="623888" cy="252000"/>
          </a:xfrm>
          <a:prstGeom prst="rect">
            <a:avLst/>
          </a:prstGeom>
        </p:spPr>
        <p:txBody>
          <a:bodyPr wrap="square" lIns="72000" tIns="0" rIns="0" bIns="0" anchor="b">
            <a:noAutofit/>
          </a:bodyPr>
          <a:lstStyle>
            <a:lvl1pPr algn="l">
              <a:defRPr sz="1800" b="1">
                <a:solidFill>
                  <a:schemeClr val="accent1"/>
                </a:solidFill>
              </a:defRPr>
            </a:lvl1pPr>
          </a:lstStyle>
          <a:p>
            <a:fld id="{85EE7C4E-0967-4336-9AB7-FA422F8F1201}" type="slidenum">
              <a:rPr lang="fi-FI" smtClean="0"/>
              <a:pPr/>
              <a:t>‹#›</a:t>
            </a:fld>
            <a:endParaRPr lang="fi-FI" dirty="0"/>
          </a:p>
        </p:txBody>
      </p:sp>
      <p:cxnSp>
        <p:nvCxnSpPr>
          <p:cNvPr id="18" name="Straight Connector 17">
            <a:extLst>
              <a:ext uri="{FF2B5EF4-FFF2-40B4-BE49-F238E27FC236}">
                <a16:creationId xmlns:a16="http://schemas.microsoft.com/office/drawing/2014/main" id="{EB8167AB-ED20-489F-8845-84FA2D8E55DA}"/>
              </a:ext>
            </a:extLst>
          </p:cNvPr>
          <p:cNvCxnSpPr>
            <a:cxnSpLocks/>
          </p:cNvCxnSpPr>
          <p:nvPr userDrawn="1"/>
        </p:nvCxnSpPr>
        <p:spPr>
          <a:xfrm flipH="1">
            <a:off x="11566800" y="6451200"/>
            <a:ext cx="1313" cy="21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623888" y="908050"/>
            <a:ext cx="10944000" cy="287338"/>
          </a:xfrm>
        </p:spPr>
        <p:txBody>
          <a:bodyPr vert="horz" lIns="0" tIns="0" rIns="0" bIns="36000" rtlCol="0" anchor="b">
            <a:noAutofit/>
          </a:bodyPr>
          <a:lstStyle>
            <a:lvl1pPr marL="0" indent="0">
              <a:spcBef>
                <a:spcPts val="0"/>
              </a:spcBef>
              <a:buNone/>
              <a:defRPr lang="en-US" sz="1600" dirty="0">
                <a:solidFill>
                  <a:schemeClr val="bg1">
                    <a:lumMod val="50000"/>
                  </a:schemeClr>
                </a:solidFill>
              </a:defRPr>
            </a:lvl1pPr>
          </a:lstStyle>
          <a:p>
            <a:pPr marL="108000" lvl="0" indent="-108000"/>
            <a:endParaRPr lang="fi-FI" dirty="0"/>
          </a:p>
        </p:txBody>
      </p:sp>
      <p:pic>
        <p:nvPicPr>
          <p:cNvPr id="4" name="Graphic 3">
            <a:extLst>
              <a:ext uri="{FF2B5EF4-FFF2-40B4-BE49-F238E27FC236}">
                <a16:creationId xmlns:a16="http://schemas.microsoft.com/office/drawing/2014/main" id="{116D89BE-7AC0-4079-BCBE-55475F5CF1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67200" y="334800"/>
            <a:ext cx="1002305" cy="576000"/>
          </a:xfrm>
          <a:prstGeom prst="rect">
            <a:avLst/>
          </a:prstGeom>
        </p:spPr>
      </p:pic>
      <p:sp>
        <p:nvSpPr>
          <p:cNvPr id="9" name="Text Placeholder 8">
            <a:extLst>
              <a:ext uri="{FF2B5EF4-FFF2-40B4-BE49-F238E27FC236}">
                <a16:creationId xmlns:a16="http://schemas.microsoft.com/office/drawing/2014/main" id="{C0DF255F-86DE-40B5-BB20-A05D46ECE9B6}"/>
              </a:ext>
            </a:extLst>
          </p:cNvPr>
          <p:cNvSpPr>
            <a:spLocks noGrp="1"/>
          </p:cNvSpPr>
          <p:nvPr>
            <p:ph type="body" sz="quarter" idx="16"/>
          </p:nvPr>
        </p:nvSpPr>
        <p:spPr>
          <a:xfrm>
            <a:off x="623888" y="6235200"/>
            <a:ext cx="9504000" cy="431800"/>
          </a:xfrm>
        </p:spPr>
        <p:txBody>
          <a:bodyPr lIns="0" tIns="0" rIns="0" bIns="0" anchor="b"/>
          <a:lstStyle>
            <a:lvl1pPr marL="0" indent="0">
              <a:spcBef>
                <a:spcPts val="0"/>
              </a:spcBef>
              <a:spcAft>
                <a:spcPts val="0"/>
              </a:spcAft>
              <a:buNone/>
              <a:defRPr sz="800"/>
            </a:lvl1pPr>
            <a:lvl2pPr marL="108000" indent="0">
              <a:buNone/>
              <a:defRPr sz="800"/>
            </a:lvl2pPr>
            <a:lvl3pPr marL="180000" indent="0">
              <a:buNone/>
              <a:defRPr sz="800"/>
            </a:lvl3pPr>
            <a:lvl4pPr marL="180000" indent="0">
              <a:buNone/>
              <a:defRPr sz="800"/>
            </a:lvl4pPr>
            <a:lvl5pPr marL="180000" indent="0">
              <a:buNone/>
              <a:defRPr sz="800"/>
            </a:lvl5pPr>
          </a:lstStyle>
          <a:p>
            <a:pPr lvl="0"/>
            <a:endParaRPr lang="fi-FI" dirty="0"/>
          </a:p>
        </p:txBody>
      </p:sp>
    </p:spTree>
    <p:extLst>
      <p:ext uri="{BB962C8B-B14F-4D97-AF65-F5344CB8AC3E}">
        <p14:creationId xmlns:p14="http://schemas.microsoft.com/office/powerpoint/2010/main" val="18176080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_2">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2D0AB-A2EA-449D-9D83-24A1E5411C01}"/>
              </a:ext>
            </a:extLst>
          </p:cNvPr>
          <p:cNvGraphicFramePr>
            <a:graphicFrameLocks noChangeAspect="1"/>
          </p:cNvGraphicFramePr>
          <p:nvPr userDrawn="1">
            <p:custDataLst>
              <p:tags r:id="rId1"/>
            </p:custDataLst>
            <p:extLst>
              <p:ext uri="{D42A27DB-BD31-4B8C-83A1-F6EECF244321}">
                <p14:modId xmlns:p14="http://schemas.microsoft.com/office/powerpoint/2010/main" val="122849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63" imgH="463" progId="TCLayout.ActiveDocument.1">
                  <p:embed/>
                </p:oleObj>
              </mc:Choice>
              <mc:Fallback>
                <p:oleObj name="think-cell Slide" r:id="rId4" imgW="463" imgH="463" progId="TCLayout.ActiveDocument.1">
                  <p:embed/>
                  <p:pic>
                    <p:nvPicPr>
                      <p:cNvPr id="8" name="Object 7" hidden="1">
                        <a:extLst>
                          <a:ext uri="{FF2B5EF4-FFF2-40B4-BE49-F238E27FC236}">
                            <a16:creationId xmlns:a16="http://schemas.microsoft.com/office/drawing/2014/main" id="{6B42D0AB-A2EA-449D-9D83-24A1E5411C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8EA4E81-D296-4BB4-B420-77B6111927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i-FI"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DED22F7-FC5E-442C-9870-6F2014E77DE4}"/>
              </a:ext>
            </a:extLst>
          </p:cNvPr>
          <p:cNvSpPr>
            <a:spLocks noGrp="1"/>
          </p:cNvSpPr>
          <p:nvPr>
            <p:ph type="ctrTitle"/>
          </p:nvPr>
        </p:nvSpPr>
        <p:spPr>
          <a:xfrm>
            <a:off x="4512000" y="1414800"/>
            <a:ext cx="7056000" cy="2016000"/>
          </a:xfrm>
        </p:spPr>
        <p:txBody>
          <a:bodyPr vert="horz" lIns="0" tIns="0" rIns="0" bIns="72000" rtlCol="0" anchor="b">
            <a:noAutofit/>
          </a:bodyPr>
          <a:lstStyle>
            <a:lvl1pPr algn="r">
              <a:lnSpc>
                <a:spcPct val="100000"/>
              </a:lnSpc>
              <a:defRPr lang="en-US" sz="2800" dirty="0">
                <a:solidFill>
                  <a:schemeClr val="accent1"/>
                </a:solidFill>
              </a:defRPr>
            </a:lvl1pPr>
          </a:lstStyle>
          <a:p>
            <a:pPr lvl="0" algn="r"/>
            <a:endParaRPr lang="fi-FI" dirty="0"/>
          </a:p>
        </p:txBody>
      </p:sp>
      <p:sp>
        <p:nvSpPr>
          <p:cNvPr id="3" name="Subtitle 2">
            <a:extLst>
              <a:ext uri="{FF2B5EF4-FFF2-40B4-BE49-F238E27FC236}">
                <a16:creationId xmlns:a16="http://schemas.microsoft.com/office/drawing/2014/main" id="{807EEFD9-C817-45D5-AE43-2727387A3F44}"/>
              </a:ext>
            </a:extLst>
          </p:cNvPr>
          <p:cNvSpPr>
            <a:spLocks noGrp="1"/>
          </p:cNvSpPr>
          <p:nvPr>
            <p:ph type="subTitle" idx="1"/>
          </p:nvPr>
        </p:nvSpPr>
        <p:spPr>
          <a:xfrm>
            <a:off x="4512000" y="3571200"/>
            <a:ext cx="7056000" cy="719658"/>
          </a:xfrm>
        </p:spPr>
        <p:txBody>
          <a:bodyPr vert="horz" lIns="0" tIns="0" rIns="0" bIns="0" rtlCol="0" anchor="t">
            <a:noAutofit/>
          </a:bodyPr>
          <a:lstStyle>
            <a:lvl1pPr marL="0" indent="0" algn="r">
              <a:lnSpc>
                <a:spcPct val="100000"/>
              </a:lnSpc>
              <a:buNone/>
              <a:defRPr lang="en-US" sz="2400" b="0">
                <a:solidFill>
                  <a:schemeClr val="accent1"/>
                </a:solidFill>
                <a:ea typeface="+mj-ea"/>
              </a:defRPr>
            </a:lvl1pPr>
          </a:lstStyle>
          <a:p>
            <a:pPr marL="108000" lvl="0" indent="-108000" algn="r">
              <a:lnSpc>
                <a:spcPct val="90000"/>
              </a:lnSpc>
              <a:spcBef>
                <a:spcPct val="0"/>
              </a:spcBef>
            </a:pPr>
            <a:endParaRPr lang="fi-FI" dirty="0"/>
          </a:p>
        </p:txBody>
      </p:sp>
      <p:sp>
        <p:nvSpPr>
          <p:cNvPr id="15" name="Text Placeholder 14">
            <a:extLst>
              <a:ext uri="{FF2B5EF4-FFF2-40B4-BE49-F238E27FC236}">
                <a16:creationId xmlns:a16="http://schemas.microsoft.com/office/drawing/2014/main" id="{244A9706-2C49-4563-814D-D6F6F4FF07F5}"/>
              </a:ext>
            </a:extLst>
          </p:cNvPr>
          <p:cNvSpPr>
            <a:spLocks noGrp="1"/>
          </p:cNvSpPr>
          <p:nvPr>
            <p:ph type="body" sz="quarter" idx="10"/>
          </p:nvPr>
        </p:nvSpPr>
        <p:spPr>
          <a:xfrm>
            <a:off x="8904175" y="4435200"/>
            <a:ext cx="2663825" cy="504825"/>
          </a:xfrm>
        </p:spPr>
        <p:txBody>
          <a:bodyPr lIns="0" tIns="0" rIns="0" bIns="0" anchor="t">
            <a:noAutofit/>
          </a:bodyPr>
          <a:lstStyle>
            <a:lvl1pPr marL="0" indent="0" algn="r">
              <a:lnSpc>
                <a:spcPct val="100000"/>
              </a:lnSpc>
              <a:buFont typeface="Arial" panose="020B0604020202020204" pitchFamily="34" charset="0"/>
              <a:buNone/>
              <a:defRPr sz="2400">
                <a:solidFill>
                  <a:schemeClr val="accent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endParaRPr lang="fi-FI" dirty="0"/>
          </a:p>
        </p:txBody>
      </p:sp>
      <p:cxnSp>
        <p:nvCxnSpPr>
          <p:cNvPr id="16" name="Straight Connector 15">
            <a:extLst>
              <a:ext uri="{FF2B5EF4-FFF2-40B4-BE49-F238E27FC236}">
                <a16:creationId xmlns:a16="http://schemas.microsoft.com/office/drawing/2014/main" id="{8FA3C3BF-2820-4351-872A-6C123F75FA4E}"/>
              </a:ext>
            </a:extLst>
          </p:cNvPr>
          <p:cNvCxnSpPr/>
          <p:nvPr userDrawn="1"/>
        </p:nvCxnSpPr>
        <p:spPr>
          <a:xfrm flipH="1">
            <a:off x="4512000" y="3427200"/>
            <a:ext cx="7056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4EFF8793-50F1-4718-8BAC-78F69611564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22800" y="5518800"/>
            <a:ext cx="1252881" cy="720000"/>
          </a:xfrm>
          <a:prstGeom prst="rect">
            <a:avLst/>
          </a:prstGeom>
        </p:spPr>
      </p:pic>
      <p:pic>
        <p:nvPicPr>
          <p:cNvPr id="4" name="Picture 3">
            <a:extLst>
              <a:ext uri="{FF2B5EF4-FFF2-40B4-BE49-F238E27FC236}">
                <a16:creationId xmlns:a16="http://schemas.microsoft.com/office/drawing/2014/main" id="{C1E56002-FF36-462D-ACCC-BAA8FAA359F4}"/>
              </a:ext>
            </a:extLst>
          </p:cNvPr>
          <p:cNvPicPr>
            <a:picLocks noChangeAspect="1"/>
          </p:cNvPicPr>
          <p:nvPr userDrawn="1"/>
        </p:nvPicPr>
        <p:blipFill>
          <a:blip r:embed="rId8"/>
          <a:stretch>
            <a:fillRect/>
          </a:stretch>
        </p:blipFill>
        <p:spPr>
          <a:xfrm>
            <a:off x="-6824" y="-6824"/>
            <a:ext cx="5998984" cy="5054022"/>
          </a:xfrm>
          <a:prstGeom prst="rect">
            <a:avLst/>
          </a:prstGeom>
        </p:spPr>
      </p:pic>
    </p:spTree>
    <p:extLst>
      <p:ext uri="{BB962C8B-B14F-4D97-AF65-F5344CB8AC3E}">
        <p14:creationId xmlns:p14="http://schemas.microsoft.com/office/powerpoint/2010/main" val="41106221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11EB21-5DAC-427D-9786-4F5941983BE6}"/>
              </a:ext>
            </a:extLst>
          </p:cNvPr>
          <p:cNvGraphicFramePr>
            <a:graphicFrameLocks noChangeAspect="1"/>
          </p:cNvGraphicFramePr>
          <p:nvPr userDrawn="1">
            <p:custDataLst>
              <p:tags r:id="rId1"/>
            </p:custDataLst>
            <p:extLst>
              <p:ext uri="{D42A27DB-BD31-4B8C-83A1-F6EECF244321}">
                <p14:modId xmlns:p14="http://schemas.microsoft.com/office/powerpoint/2010/main" val="1909184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63" imgH="463" progId="TCLayout.ActiveDocument.1">
                  <p:embed/>
                </p:oleObj>
              </mc:Choice>
              <mc:Fallback>
                <p:oleObj name="think-cell Slide" r:id="rId4" imgW="463" imgH="463" progId="TCLayout.ActiveDocument.1">
                  <p:embed/>
                  <p:pic>
                    <p:nvPicPr>
                      <p:cNvPr id="5" name="Object 4" hidden="1">
                        <a:extLst>
                          <a:ext uri="{FF2B5EF4-FFF2-40B4-BE49-F238E27FC236}">
                            <a16:creationId xmlns:a16="http://schemas.microsoft.com/office/drawing/2014/main" id="{1411EB21-5DAC-427D-9786-4F5941983B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BD214435-2427-47DA-95EA-A7C8772F6D13}"/>
              </a:ext>
            </a:extLst>
          </p:cNvPr>
          <p:cNvSpPr/>
          <p:nvPr userDrawn="1">
            <p:custDataLst>
              <p:tags r:id="rId2"/>
            </p:custDataLst>
          </p:nvPr>
        </p:nvSpPr>
        <p:spPr>
          <a:xfrm>
            <a:off x="0" y="0"/>
            <a:ext cx="158750" cy="158750"/>
          </a:xfrm>
          <a:prstGeom prst="rect">
            <a:avLst/>
          </a:prstGeom>
          <a:solidFill>
            <a:schemeClr val="accent1"/>
          </a:solidFill>
        </p:spPr>
        <p:txBody>
          <a:bodyPr vert="horz" wrap="none" lIns="0" tIns="0" rIns="0" bIns="0" numCol="1" spcCol="0" rtlCol="0" anchor="ctr" anchorCtr="0">
            <a:noAutofit/>
          </a:bodyPr>
          <a:lstStyle/>
          <a:p>
            <a:pPr marL="0" lvl="0" indent="0" algn="ctr" eaLnBrk="1">
              <a:lnSpc>
                <a:spcPts val="2100"/>
              </a:lnSpc>
              <a:spcBef>
                <a:spcPct val="0"/>
              </a:spcBef>
              <a:spcAft>
                <a:spcPct val="0"/>
              </a:spcAft>
            </a:pPr>
            <a:endParaRPr lang="fi-FI" altLang="fi-FI" sz="2000" b="1" i="0" baseline="0" dirty="0">
              <a:solidFill>
                <a:schemeClr val="bg1"/>
              </a:solidFill>
              <a:latin typeface="Helvetica" panose="020B0604020202020204" pitchFamily="34" charset="0"/>
              <a:ea typeface="+mj-ea"/>
              <a:cs typeface="Arial" panose="020B0604020202020204" pitchFamily="34" charset="0"/>
              <a:sym typeface="Helvetica" panose="020B0604020202020204" pitchFamily="34" charset="0"/>
            </a:endParaRPr>
          </a:p>
        </p:txBody>
      </p:sp>
      <p:sp>
        <p:nvSpPr>
          <p:cNvPr id="2" name="Title 1"/>
          <p:cNvSpPr>
            <a:spLocks noGrp="1"/>
          </p:cNvSpPr>
          <p:nvPr>
            <p:ph type="title"/>
          </p:nvPr>
        </p:nvSpPr>
        <p:spPr>
          <a:xfrm>
            <a:off x="622800" y="333375"/>
            <a:ext cx="9720000" cy="576064"/>
          </a:xfrm>
        </p:spPr>
        <p:txBody>
          <a:bodyPr numCol="1"/>
          <a:lstStyle/>
          <a:p>
            <a:endParaRPr lang="fi-FI" altLang="fi-FI" dirty="0"/>
          </a:p>
        </p:txBody>
      </p:sp>
      <p:sp>
        <p:nvSpPr>
          <p:cNvPr id="3" name="Content Placeholder 2"/>
          <p:cNvSpPr>
            <a:spLocks noGrp="1"/>
          </p:cNvSpPr>
          <p:nvPr>
            <p:ph idx="1" hasCustomPrompt="1"/>
          </p:nvPr>
        </p:nvSpPr>
        <p:spPr>
          <a:xfrm>
            <a:off x="624000" y="1411200"/>
            <a:ext cx="10944000" cy="4824414"/>
          </a:xfrm>
          <a:prstGeom prst="rect">
            <a:avLst/>
          </a:prstGeom>
        </p:spPr>
        <p:txBody>
          <a:bodyPr lIns="36000" tIns="36000" rIns="36000" bIns="36000" numCol="1"/>
          <a:lstStyle>
            <a:lvl1pPr marL="108000" indent="-108000">
              <a:spcBef>
                <a:spcPts val="0"/>
              </a:spcBef>
              <a:spcAft>
                <a:spcPts val="300"/>
              </a:spcAft>
              <a:buFont typeface="Arial" panose="020B0604020202020204" pitchFamily="34" charset="0"/>
              <a:buChar char="•"/>
              <a:defRPr/>
            </a:lvl1pPr>
            <a:lvl2pPr marL="216000" indent="-108000">
              <a:spcBef>
                <a:spcPts val="0"/>
              </a:spcBef>
              <a:spcAft>
                <a:spcPts val="0"/>
              </a:spcAft>
              <a:buFont typeface="Helvetica" panose="020B0604020202020204" pitchFamily="34" charset="0"/>
              <a:buChar char="-"/>
              <a:defRPr/>
            </a:lvl2pPr>
            <a:lvl3pPr marL="324000" indent="-108000">
              <a:spcBef>
                <a:spcPts val="0"/>
              </a:spcBef>
              <a:spcAft>
                <a:spcPts val="0"/>
              </a:spcAft>
              <a:buFont typeface="Courier New" panose="02070309020205020404" pitchFamily="49" charset="0"/>
              <a:buChar char="o"/>
              <a:defRPr/>
            </a:lvl3pPr>
            <a:lvl4pPr marL="324000" indent="-108000">
              <a:spcBef>
                <a:spcPts val="0"/>
              </a:spcBef>
              <a:spcAft>
                <a:spcPts val="0"/>
              </a:spcAft>
              <a:buFont typeface="Courier New" panose="02070309020205020404" pitchFamily="49" charset="0"/>
              <a:buChar char="o"/>
              <a:defRPr/>
            </a:lvl4pPr>
            <a:lvl5pPr marL="324000" indent="-108000">
              <a:spcBef>
                <a:spcPts val="0"/>
              </a:spcBef>
              <a:spcAft>
                <a:spcPts val="0"/>
              </a:spcAft>
              <a:buFont typeface="Courier New" panose="02070309020205020404" pitchFamily="49" charset="0"/>
              <a:buChar char="o"/>
              <a:defRPr/>
            </a:lvl5pPr>
          </a:lstStyle>
          <a:p>
            <a:pPr lvl="0"/>
            <a:r>
              <a:rPr lang="fi-FI" altLang="fi-FI" dirty="0" err="1"/>
              <a:t>Click</a:t>
            </a:r>
            <a:r>
              <a:rPr lang="fi-FI" altLang="fi-FI" dirty="0"/>
              <a:t> to </a:t>
            </a:r>
            <a:r>
              <a:rPr lang="fi-FI" altLang="fi-FI" dirty="0" err="1"/>
              <a:t>edit</a:t>
            </a:r>
            <a:r>
              <a:rPr lang="fi-FI" altLang="fi-FI" dirty="0"/>
              <a:t> Master </a:t>
            </a:r>
            <a:r>
              <a:rPr lang="fi-FI" altLang="fi-FI" dirty="0" err="1"/>
              <a:t>text</a:t>
            </a:r>
            <a:r>
              <a:rPr lang="fi-FI" altLang="fi-FI" dirty="0"/>
              <a:t> </a:t>
            </a:r>
            <a:r>
              <a:rPr lang="fi-FI" altLang="fi-FI" dirty="0" err="1"/>
              <a:t>styles</a:t>
            </a:r>
            <a:endParaRPr lang="fi-FI" altLang="fi-FI" dirty="0"/>
          </a:p>
          <a:p>
            <a:pPr lvl="1"/>
            <a:r>
              <a:rPr lang="fi-FI" altLang="fi-FI" dirty="0"/>
              <a:t>Second </a:t>
            </a:r>
            <a:r>
              <a:rPr lang="fi-FI" altLang="fi-FI" dirty="0" err="1"/>
              <a:t>level</a:t>
            </a:r>
            <a:endParaRPr lang="fi-FI" altLang="fi-FI" dirty="0"/>
          </a:p>
          <a:p>
            <a:pPr lvl="2"/>
            <a:r>
              <a:rPr lang="fi-FI" altLang="fi-FI" dirty="0"/>
              <a:t>Third </a:t>
            </a:r>
            <a:r>
              <a:rPr lang="fi-FI" altLang="fi-FI" dirty="0" err="1"/>
              <a:t>level</a:t>
            </a:r>
            <a:endParaRPr lang="fi-FI" altLang="fi-FI" dirty="0"/>
          </a:p>
          <a:p>
            <a:pPr lvl="3"/>
            <a:r>
              <a:rPr lang="fi-FI" altLang="fi-FI" dirty="0" err="1"/>
              <a:t>Fourth</a:t>
            </a:r>
            <a:r>
              <a:rPr lang="fi-FI" altLang="fi-FI" dirty="0"/>
              <a:t> </a:t>
            </a:r>
            <a:r>
              <a:rPr lang="fi-FI" altLang="fi-FI" dirty="0" err="1"/>
              <a:t>level</a:t>
            </a:r>
            <a:endParaRPr lang="fi-FI" altLang="fi-FI" dirty="0"/>
          </a:p>
          <a:p>
            <a:pPr lvl="4"/>
            <a:r>
              <a:rPr lang="fi-FI" altLang="fi-FI" dirty="0" err="1"/>
              <a:t>Fifth</a:t>
            </a:r>
            <a:r>
              <a:rPr lang="fi-FI" altLang="fi-FI" dirty="0"/>
              <a:t> </a:t>
            </a:r>
            <a:r>
              <a:rPr lang="fi-FI" altLang="fi-FI" dirty="0" err="1"/>
              <a:t>level</a:t>
            </a:r>
            <a:endParaRPr lang="fi-FI" altLang="fi-FI" dirty="0"/>
          </a:p>
        </p:txBody>
      </p:sp>
      <p:sp>
        <p:nvSpPr>
          <p:cNvPr id="9" name="Text Placeholder 8"/>
          <p:cNvSpPr>
            <a:spLocks noGrp="1"/>
          </p:cNvSpPr>
          <p:nvPr>
            <p:ph type="body" sz="quarter" idx="13"/>
          </p:nvPr>
        </p:nvSpPr>
        <p:spPr>
          <a:xfrm>
            <a:off x="622800" y="908050"/>
            <a:ext cx="10944000" cy="287338"/>
          </a:xfrm>
          <a:prstGeom prst="rect">
            <a:avLst/>
          </a:prstGeom>
        </p:spPr>
        <p:txBody>
          <a:bodyPr lIns="0" tIns="0" rIns="0" bIns="36000" numCol="1" anchor="b" anchorCtr="0">
            <a:noAutofit/>
          </a:bodyPr>
          <a:lstStyle>
            <a:lvl1pPr marL="0" indent="0">
              <a:lnSpc>
                <a:spcPts val="2100"/>
              </a:lnSpc>
              <a:buFont typeface="Arial" panose="020B0604020202020204" pitchFamily="34" charset="0"/>
              <a:buNone/>
              <a:defRPr sz="1600">
                <a:solidFill>
                  <a:schemeClr val="bg1">
                    <a:lumMod val="50000"/>
                  </a:schemeClr>
                </a:solidFill>
              </a:defRPr>
            </a:lvl1pPr>
          </a:lstStyle>
          <a:p>
            <a:pPr lvl="0"/>
            <a:endParaRPr lang="fi-FI" altLang="fi-FI" dirty="0"/>
          </a:p>
        </p:txBody>
      </p:sp>
      <p:sp>
        <p:nvSpPr>
          <p:cNvPr id="11" name="Text Placeholder 10"/>
          <p:cNvSpPr>
            <a:spLocks noGrp="1"/>
          </p:cNvSpPr>
          <p:nvPr>
            <p:ph type="body" sz="quarter" idx="14"/>
          </p:nvPr>
        </p:nvSpPr>
        <p:spPr>
          <a:xfrm>
            <a:off x="622800" y="6235200"/>
            <a:ext cx="9504000" cy="432000"/>
          </a:xfrm>
          <a:prstGeom prst="rect">
            <a:avLst/>
          </a:prstGeom>
        </p:spPr>
        <p:txBody>
          <a:bodyPr vert="horz" lIns="0" tIns="0" rIns="0" bIns="0" numCol="1" rtlCol="0" anchor="b">
            <a:noAutofit/>
          </a:bodyPr>
          <a:lstStyle>
            <a:lvl1pPr marL="0" indent="0">
              <a:lnSpc>
                <a:spcPct val="100000"/>
              </a:lnSpc>
              <a:spcBef>
                <a:spcPts val="0"/>
              </a:spcBef>
              <a:spcAft>
                <a:spcPts val="0"/>
              </a:spcAft>
              <a:buFont typeface="Arial" panose="020B0604020202020204" pitchFamily="34" charset="0"/>
              <a:buNone/>
              <a:defRPr lang="en-US" sz="800" dirty="0">
                <a:solidFill>
                  <a:schemeClr val="tx1"/>
                </a:solidFill>
                <a:cs typeface="Arial" panose="020B0604020202020204" pitchFamily="34" charset="0"/>
              </a:defRPr>
            </a:lvl1pPr>
          </a:lstStyle>
          <a:p>
            <a:pPr marL="182563" lvl="0" indent="-182563">
              <a:spcBef>
                <a:spcPts val="0"/>
              </a:spcBef>
              <a:spcAft>
                <a:spcPts val="0"/>
              </a:spcAft>
              <a:buClr>
                <a:schemeClr val="accent1"/>
              </a:buClr>
              <a:buSzPct val="100000"/>
            </a:pPr>
            <a:endParaRPr lang="fi-FI" altLang="fi-FI" dirty="0"/>
          </a:p>
        </p:txBody>
      </p:sp>
      <p:sp>
        <p:nvSpPr>
          <p:cNvPr id="10" name="Footer Placeholder 4">
            <a:extLst>
              <a:ext uri="{FF2B5EF4-FFF2-40B4-BE49-F238E27FC236}">
                <a16:creationId xmlns:a16="http://schemas.microsoft.com/office/drawing/2014/main" id="{9F1D4F37-9281-451A-93D9-CEA4A05BAB31}"/>
              </a:ext>
            </a:extLst>
          </p:cNvPr>
          <p:cNvSpPr>
            <a:spLocks noGrp="1"/>
          </p:cNvSpPr>
          <p:nvPr>
            <p:ph type="ftr" sz="quarter" idx="11"/>
          </p:nvPr>
        </p:nvSpPr>
        <p:spPr>
          <a:xfrm>
            <a:off x="10246722" y="6451200"/>
            <a:ext cx="1295978" cy="216000"/>
          </a:xfrm>
          <a:prstGeom prst="rect">
            <a:avLst/>
          </a:prstGeom>
        </p:spPr>
        <p:txBody>
          <a:bodyPr lIns="0" tIns="0" rIns="36000" bIns="0" numCol="1" anchor="b">
            <a:noAutofit/>
          </a:bodyPr>
          <a:lstStyle>
            <a:lvl1pPr algn="r">
              <a:defRPr sz="900">
                <a:solidFill>
                  <a:schemeClr val="accent1"/>
                </a:solidFill>
              </a:defRPr>
            </a:lvl1pPr>
          </a:lstStyle>
          <a:p>
            <a:r>
              <a:rPr lang="fi-FI" altLang="fi-FI"/>
              <a:t>LUOTTAMUKSELLINEN</a:t>
            </a:r>
            <a:endParaRPr lang="fi-FI" altLang="fi-FI" dirty="0"/>
          </a:p>
        </p:txBody>
      </p:sp>
      <p:sp>
        <p:nvSpPr>
          <p:cNvPr id="12" name="Slide Number Placeholder 5">
            <a:extLst>
              <a:ext uri="{FF2B5EF4-FFF2-40B4-BE49-F238E27FC236}">
                <a16:creationId xmlns:a16="http://schemas.microsoft.com/office/drawing/2014/main" id="{9DD074F8-51AC-4F16-9783-E2F3BE4A3D38}"/>
              </a:ext>
            </a:extLst>
          </p:cNvPr>
          <p:cNvSpPr>
            <a:spLocks noGrp="1"/>
          </p:cNvSpPr>
          <p:nvPr>
            <p:ph type="sldNum" sz="quarter" idx="12"/>
          </p:nvPr>
        </p:nvSpPr>
        <p:spPr>
          <a:xfrm>
            <a:off x="11566800" y="6451200"/>
            <a:ext cx="623888" cy="252000"/>
          </a:xfrm>
          <a:prstGeom prst="rect">
            <a:avLst/>
          </a:prstGeom>
        </p:spPr>
        <p:txBody>
          <a:bodyPr wrap="square" lIns="72000" tIns="0" rIns="0" bIns="0" numCol="1" anchor="b">
            <a:noAutofit/>
          </a:bodyPr>
          <a:lstStyle>
            <a:lvl1pPr algn="l">
              <a:defRPr sz="1800" b="1">
                <a:solidFill>
                  <a:schemeClr val="accent1"/>
                </a:solidFill>
              </a:defRPr>
            </a:lvl1pPr>
          </a:lstStyle>
          <a:p>
            <a:fld id="{85EE7C4E-0967-4336-9AB7-FA422F8F1201}" type="slidenum">
              <a:rPr lang="fi-FI" altLang="fi-FI" smtClean="0"/>
              <a:pPr/>
              <a:t>‹#›</a:t>
            </a:fld>
            <a:endParaRPr lang="fi-FI" altLang="fi-FI" dirty="0"/>
          </a:p>
        </p:txBody>
      </p:sp>
      <p:cxnSp>
        <p:nvCxnSpPr>
          <p:cNvPr id="13" name="Straight Connector 12">
            <a:extLst>
              <a:ext uri="{FF2B5EF4-FFF2-40B4-BE49-F238E27FC236}">
                <a16:creationId xmlns:a16="http://schemas.microsoft.com/office/drawing/2014/main" id="{448168F9-747E-4768-A3BF-E92D2A84328D}"/>
              </a:ext>
            </a:extLst>
          </p:cNvPr>
          <p:cNvCxnSpPr>
            <a:cxnSpLocks/>
          </p:cNvCxnSpPr>
          <p:nvPr userDrawn="1"/>
        </p:nvCxnSpPr>
        <p:spPr>
          <a:xfrm flipH="1">
            <a:off x="11566800" y="6451200"/>
            <a:ext cx="1313" cy="21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A51DEF2-83B1-4178-8A16-2EE726137529}"/>
              </a:ext>
            </a:extLst>
          </p:cNvPr>
          <p:cNvCxnSpPr/>
          <p:nvPr userDrawn="1"/>
        </p:nvCxnSpPr>
        <p:spPr>
          <a:xfrm>
            <a:off x="623888" y="1195200"/>
            <a:ext cx="1094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E64E692F-66E9-4148-840C-7EFB1361E3C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67200" y="334800"/>
            <a:ext cx="1002305" cy="576000"/>
          </a:xfrm>
          <a:prstGeom prst="rect">
            <a:avLst/>
          </a:prstGeom>
        </p:spPr>
      </p:pic>
    </p:spTree>
    <p:extLst>
      <p:ext uri="{BB962C8B-B14F-4D97-AF65-F5344CB8AC3E}">
        <p14:creationId xmlns:p14="http://schemas.microsoft.com/office/powerpoint/2010/main" val="9939836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p:txBody>
          <a:bodyPr numCol="2" spcCol="468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a:t>Klik om de stijl te bewerken</a:t>
            </a:r>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a:t>
            </a:fld>
            <a:endParaRPr lang="nl-NL" dirty="0"/>
          </a:p>
        </p:txBody>
      </p:sp>
      <p:sp>
        <p:nvSpPr>
          <p:cNvPr id="7" name="Tijdelijke aanduiding voor voettekst 4"/>
          <p:cNvSpPr>
            <a:spLocks noGrp="1"/>
          </p:cNvSpPr>
          <p:nvPr>
            <p:ph type="ftr" sz="quarter" idx="3"/>
          </p:nvPr>
        </p:nvSpPr>
        <p:spPr>
          <a:xfrm>
            <a:off x="635000" y="6221414"/>
            <a:ext cx="5003800" cy="322074"/>
          </a:xfrm>
          <a:prstGeom prst="rect">
            <a:avLst/>
          </a:prstGeom>
        </p:spPr>
        <p:txBody>
          <a:bodyPr vert="horz" lIns="91440" tIns="45720" rIns="91440" bIns="45720" rtlCol="0" anchor="b" anchorCtr="0"/>
          <a:lstStyle>
            <a:lvl1pPr algn="l">
              <a:defRPr sz="1049">
                <a:solidFill>
                  <a:schemeClr val="bg1">
                    <a:lumMod val="65000"/>
                  </a:schemeClr>
                </a:solidFill>
              </a:defRPr>
            </a:lvl1pPr>
          </a:lstStyle>
          <a:p>
            <a:r>
              <a:rPr lang="en-US"/>
              <a:t>1st May 2019 | BCG - Australian Value Based Health Care Study Tour </a:t>
            </a:r>
            <a:endParaRPr lang="nl-NL" dirty="0"/>
          </a:p>
        </p:txBody>
      </p:sp>
    </p:spTree>
    <p:extLst>
      <p:ext uri="{BB962C8B-B14F-4D97-AF65-F5344CB8AC3E}">
        <p14:creationId xmlns:p14="http://schemas.microsoft.com/office/powerpoint/2010/main" val="3022888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B2629B-F049-4CC7-9E46-6F6661039B13}"/>
              </a:ext>
            </a:extLst>
          </p:cNvPr>
          <p:cNvGraphicFramePr>
            <a:graphicFrameLocks noChangeAspect="1"/>
          </p:cNvGraphicFramePr>
          <p:nvPr userDrawn="1">
            <p:custDataLst>
              <p:tags r:id="rId1"/>
            </p:custDataLst>
            <p:extLst>
              <p:ext uri="{D42A27DB-BD31-4B8C-83A1-F6EECF244321}">
                <p14:modId xmlns:p14="http://schemas.microsoft.com/office/powerpoint/2010/main" val="88913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63" imgH="463" progId="TCLayout.ActiveDocument.1">
                  <p:embed/>
                </p:oleObj>
              </mc:Choice>
              <mc:Fallback>
                <p:oleObj name="think-cell Slide" r:id="rId4" imgW="463" imgH="463" progId="TCLayout.ActiveDocument.1">
                  <p:embed/>
                  <p:pic>
                    <p:nvPicPr>
                      <p:cNvPr id="8" name="Object 7" hidden="1">
                        <a:extLst>
                          <a:ext uri="{FF2B5EF4-FFF2-40B4-BE49-F238E27FC236}">
                            <a16:creationId xmlns:a16="http://schemas.microsoft.com/office/drawing/2014/main" id="{75B2629B-F049-4CC7-9E46-6F6661039B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851BB8DC-AFD2-410F-8D1C-F3EB77071D3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00"/>
              </a:lnSpc>
              <a:spcBef>
                <a:spcPct val="0"/>
              </a:spcBef>
              <a:spcAft>
                <a:spcPct val="0"/>
              </a:spcAft>
            </a:pPr>
            <a:endParaRPr lang="fi-FI" altLang="fi-FI" sz="2000" b="1" i="0" baseline="0" dirty="0">
              <a:latin typeface="Helvetica" panose="020B0604020202020204" pitchFamily="34" charset="0"/>
              <a:ea typeface="+mj-ea"/>
              <a:cs typeface="Arial"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AD6CD4F-BCBF-455E-ABF2-7783814F3068}"/>
              </a:ext>
            </a:extLst>
          </p:cNvPr>
          <p:cNvSpPr>
            <a:spLocks noGrp="1"/>
          </p:cNvSpPr>
          <p:nvPr>
            <p:ph type="title"/>
          </p:nvPr>
        </p:nvSpPr>
        <p:spPr>
          <a:xfrm>
            <a:off x="623888" y="331200"/>
            <a:ext cx="9720000" cy="574675"/>
          </a:xfrm>
        </p:spPr>
        <p:txBody>
          <a:bodyPr numCol="1">
            <a:noAutofit/>
          </a:bodyPr>
          <a:lstStyle/>
          <a:p>
            <a:r>
              <a:rPr lang="fi-FI" altLang="fi-FI" dirty="0" err="1"/>
              <a:t>Click</a:t>
            </a:r>
            <a:r>
              <a:rPr lang="fi-FI" altLang="fi-FI" dirty="0"/>
              <a:t> to </a:t>
            </a:r>
            <a:r>
              <a:rPr lang="fi-FI" altLang="fi-FI" dirty="0" err="1"/>
              <a:t>edit</a:t>
            </a:r>
            <a:r>
              <a:rPr lang="fi-FI" altLang="fi-FI" dirty="0"/>
              <a:t> Master </a:t>
            </a:r>
            <a:r>
              <a:rPr lang="fi-FI" altLang="fi-FI" dirty="0" err="1"/>
              <a:t>title</a:t>
            </a:r>
            <a:r>
              <a:rPr lang="fi-FI" altLang="fi-FI" dirty="0"/>
              <a:t> </a:t>
            </a:r>
            <a:r>
              <a:rPr lang="fi-FI" altLang="fi-FI" dirty="0" err="1"/>
              <a:t>style</a:t>
            </a:r>
            <a:endParaRPr lang="fi-FI" altLang="fi-FI" dirty="0"/>
          </a:p>
        </p:txBody>
      </p:sp>
      <p:sp>
        <p:nvSpPr>
          <p:cNvPr id="5" name="Footer Placeholder 4">
            <a:extLst>
              <a:ext uri="{FF2B5EF4-FFF2-40B4-BE49-F238E27FC236}">
                <a16:creationId xmlns:a16="http://schemas.microsoft.com/office/drawing/2014/main" id="{7BCD3842-AB1E-49EE-8946-FCC4947592F8}"/>
              </a:ext>
            </a:extLst>
          </p:cNvPr>
          <p:cNvSpPr>
            <a:spLocks noGrp="1"/>
          </p:cNvSpPr>
          <p:nvPr>
            <p:ph type="ftr" sz="quarter" idx="11"/>
          </p:nvPr>
        </p:nvSpPr>
        <p:spPr>
          <a:xfrm>
            <a:off x="10246722" y="6451200"/>
            <a:ext cx="1295978" cy="216000"/>
          </a:xfrm>
          <a:prstGeom prst="rect">
            <a:avLst/>
          </a:prstGeom>
        </p:spPr>
        <p:txBody>
          <a:bodyPr lIns="0" tIns="0" rIns="36000" bIns="0" numCol="1" anchor="b">
            <a:noAutofit/>
          </a:bodyPr>
          <a:lstStyle>
            <a:lvl1pPr algn="r">
              <a:defRPr sz="900">
                <a:solidFill>
                  <a:schemeClr val="accent1"/>
                </a:solidFill>
              </a:defRPr>
            </a:lvl1pPr>
          </a:lstStyle>
          <a:p>
            <a:r>
              <a:rPr lang="fi-FI" altLang="fi-FI"/>
              <a:t>LUOTTAMUKSELLINEN</a:t>
            </a:r>
            <a:endParaRPr lang="fi-FI" altLang="fi-FI" dirty="0"/>
          </a:p>
        </p:txBody>
      </p:sp>
      <p:cxnSp>
        <p:nvCxnSpPr>
          <p:cNvPr id="14" name="Straight Connector 13">
            <a:extLst>
              <a:ext uri="{FF2B5EF4-FFF2-40B4-BE49-F238E27FC236}">
                <a16:creationId xmlns:a16="http://schemas.microsoft.com/office/drawing/2014/main" id="{B542105A-AE19-47F0-B4F5-460C7E2485D6}"/>
              </a:ext>
            </a:extLst>
          </p:cNvPr>
          <p:cNvCxnSpPr/>
          <p:nvPr userDrawn="1"/>
        </p:nvCxnSpPr>
        <p:spPr>
          <a:xfrm>
            <a:off x="623888" y="1195200"/>
            <a:ext cx="1094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9B25DD64-1ED3-49F6-9F3E-EB96B0D385CE}"/>
              </a:ext>
            </a:extLst>
          </p:cNvPr>
          <p:cNvSpPr>
            <a:spLocks noGrp="1"/>
          </p:cNvSpPr>
          <p:nvPr>
            <p:ph type="sldNum" sz="quarter" idx="12"/>
          </p:nvPr>
        </p:nvSpPr>
        <p:spPr>
          <a:xfrm>
            <a:off x="11566800" y="6451200"/>
            <a:ext cx="623888" cy="252000"/>
          </a:xfrm>
          <a:prstGeom prst="rect">
            <a:avLst/>
          </a:prstGeom>
        </p:spPr>
        <p:txBody>
          <a:bodyPr wrap="square" lIns="72000" tIns="0" rIns="0" bIns="0" numCol="1" anchor="b">
            <a:noAutofit/>
          </a:bodyPr>
          <a:lstStyle>
            <a:lvl1pPr algn="l">
              <a:defRPr sz="1800" b="1">
                <a:solidFill>
                  <a:schemeClr val="accent1"/>
                </a:solidFill>
              </a:defRPr>
            </a:lvl1pPr>
          </a:lstStyle>
          <a:p>
            <a:fld id="{85EE7C4E-0967-4336-9AB7-FA422F8F1201}" type="slidenum">
              <a:rPr lang="fi-FI" altLang="fi-FI" smtClean="0"/>
              <a:pPr/>
              <a:t>‹#›</a:t>
            </a:fld>
            <a:endParaRPr lang="fi-FI" altLang="fi-FI" dirty="0"/>
          </a:p>
        </p:txBody>
      </p:sp>
      <p:cxnSp>
        <p:nvCxnSpPr>
          <p:cNvPr id="18" name="Straight Connector 17">
            <a:extLst>
              <a:ext uri="{FF2B5EF4-FFF2-40B4-BE49-F238E27FC236}">
                <a16:creationId xmlns:a16="http://schemas.microsoft.com/office/drawing/2014/main" id="{EB8167AB-ED20-489F-8845-84FA2D8E55DA}"/>
              </a:ext>
            </a:extLst>
          </p:cNvPr>
          <p:cNvCxnSpPr>
            <a:cxnSpLocks/>
          </p:cNvCxnSpPr>
          <p:nvPr userDrawn="1"/>
        </p:nvCxnSpPr>
        <p:spPr>
          <a:xfrm flipH="1">
            <a:off x="11566800" y="6451200"/>
            <a:ext cx="1313" cy="21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856AAA2-A340-428A-8ED6-F4FB4A58DEA5}"/>
              </a:ext>
            </a:extLst>
          </p:cNvPr>
          <p:cNvSpPr>
            <a:spLocks noGrp="1"/>
          </p:cNvSpPr>
          <p:nvPr>
            <p:ph type="body" sz="quarter" idx="13"/>
          </p:nvPr>
        </p:nvSpPr>
        <p:spPr>
          <a:xfrm>
            <a:off x="623888" y="908050"/>
            <a:ext cx="10944000" cy="287338"/>
          </a:xfrm>
        </p:spPr>
        <p:txBody>
          <a:bodyPr vert="horz" lIns="0" tIns="0" rIns="0" bIns="36000" numCol="1" rtlCol="0" anchor="b">
            <a:noAutofit/>
          </a:bodyPr>
          <a:lstStyle>
            <a:lvl1pPr marL="0" indent="0">
              <a:spcBef>
                <a:spcPts val="0"/>
              </a:spcBef>
              <a:buNone/>
              <a:defRPr lang="en-US" sz="1600" dirty="0">
                <a:solidFill>
                  <a:schemeClr val="bg1">
                    <a:lumMod val="50000"/>
                  </a:schemeClr>
                </a:solidFill>
              </a:defRPr>
            </a:lvl1pPr>
          </a:lstStyle>
          <a:p>
            <a:pPr marL="108000" lvl="0" indent="-108000"/>
            <a:endParaRPr lang="fi-FI" altLang="fi-FI" dirty="0"/>
          </a:p>
        </p:txBody>
      </p:sp>
      <p:pic>
        <p:nvPicPr>
          <p:cNvPr id="4" name="Graphic 3">
            <a:extLst>
              <a:ext uri="{FF2B5EF4-FFF2-40B4-BE49-F238E27FC236}">
                <a16:creationId xmlns:a16="http://schemas.microsoft.com/office/drawing/2014/main" id="{116D89BE-7AC0-4079-BCBE-55475F5CF1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567200" y="334800"/>
            <a:ext cx="1002305" cy="576000"/>
          </a:xfrm>
          <a:prstGeom prst="rect">
            <a:avLst/>
          </a:prstGeom>
        </p:spPr>
      </p:pic>
      <p:sp>
        <p:nvSpPr>
          <p:cNvPr id="9" name="Text Placeholder 8">
            <a:extLst>
              <a:ext uri="{FF2B5EF4-FFF2-40B4-BE49-F238E27FC236}">
                <a16:creationId xmlns:a16="http://schemas.microsoft.com/office/drawing/2014/main" id="{DAB9258A-8F3D-43EA-B601-03B8DCCFE1BF}"/>
              </a:ext>
            </a:extLst>
          </p:cNvPr>
          <p:cNvSpPr>
            <a:spLocks noGrp="1"/>
          </p:cNvSpPr>
          <p:nvPr>
            <p:ph type="body" sz="quarter" idx="16"/>
          </p:nvPr>
        </p:nvSpPr>
        <p:spPr>
          <a:xfrm>
            <a:off x="624000" y="1411200"/>
            <a:ext cx="10944000" cy="4824000"/>
          </a:xfrm>
        </p:spPr>
        <p:txBody>
          <a:bodyPr numCol="1"/>
          <a:lstStyle>
            <a:lvl1pPr marL="180000" indent="-180000">
              <a:spcAft>
                <a:spcPts val="1000"/>
              </a:spcAft>
              <a:defRPr sz="1800"/>
            </a:lvl1pPr>
            <a:lvl2pPr marL="288000">
              <a:spcAft>
                <a:spcPts val="300"/>
              </a:spcAft>
              <a:defRPr sz="1600"/>
            </a:lvl2pPr>
            <a:lvl3pPr>
              <a:defRPr sz="1400"/>
            </a:lvl3pPr>
            <a:lvl4pPr>
              <a:defRPr sz="1400"/>
            </a:lvl4pPr>
          </a:lstStyle>
          <a:p>
            <a:pPr lvl="0"/>
            <a:r>
              <a:rPr lang="fi-FI" altLang="fi-FI" dirty="0" err="1"/>
              <a:t>Edit</a:t>
            </a:r>
            <a:r>
              <a:rPr lang="fi-FI" altLang="fi-FI" dirty="0"/>
              <a:t> Master </a:t>
            </a:r>
            <a:r>
              <a:rPr lang="fi-FI" altLang="fi-FI" dirty="0" err="1"/>
              <a:t>text</a:t>
            </a:r>
            <a:r>
              <a:rPr lang="fi-FI" altLang="fi-FI" dirty="0"/>
              <a:t> </a:t>
            </a:r>
            <a:r>
              <a:rPr lang="fi-FI" altLang="fi-FI" dirty="0" err="1"/>
              <a:t>styles</a:t>
            </a:r>
            <a:endParaRPr lang="fi-FI" altLang="fi-FI" dirty="0"/>
          </a:p>
          <a:p>
            <a:pPr lvl="1"/>
            <a:r>
              <a:rPr lang="fi-FI" altLang="fi-FI" dirty="0"/>
              <a:t>Second </a:t>
            </a:r>
            <a:r>
              <a:rPr lang="fi-FI" altLang="fi-FI" dirty="0" err="1"/>
              <a:t>level</a:t>
            </a:r>
            <a:endParaRPr lang="fi-FI" altLang="fi-FI" dirty="0"/>
          </a:p>
          <a:p>
            <a:pPr lvl="2"/>
            <a:r>
              <a:rPr lang="fi-FI" altLang="fi-FI" dirty="0"/>
              <a:t>Third </a:t>
            </a:r>
            <a:r>
              <a:rPr lang="fi-FI" altLang="fi-FI" dirty="0" err="1"/>
              <a:t>level</a:t>
            </a:r>
            <a:endParaRPr lang="fi-FI" altLang="fi-FI" dirty="0"/>
          </a:p>
          <a:p>
            <a:pPr lvl="3"/>
            <a:r>
              <a:rPr lang="fi-FI" altLang="fi-FI" dirty="0" err="1"/>
              <a:t>Fourth</a:t>
            </a:r>
            <a:r>
              <a:rPr lang="fi-FI" altLang="fi-FI" dirty="0"/>
              <a:t> </a:t>
            </a:r>
            <a:r>
              <a:rPr lang="fi-FI" altLang="fi-FI" dirty="0" err="1"/>
              <a:t>level</a:t>
            </a:r>
            <a:endParaRPr lang="fi-FI" altLang="fi-FI" dirty="0"/>
          </a:p>
        </p:txBody>
      </p:sp>
      <p:sp>
        <p:nvSpPr>
          <p:cNvPr id="13" name="Text Placeholder 8">
            <a:extLst>
              <a:ext uri="{FF2B5EF4-FFF2-40B4-BE49-F238E27FC236}">
                <a16:creationId xmlns:a16="http://schemas.microsoft.com/office/drawing/2014/main" id="{1FB6572D-11BE-4C78-9C91-4081EEFD8C8A}"/>
              </a:ext>
            </a:extLst>
          </p:cNvPr>
          <p:cNvSpPr>
            <a:spLocks noGrp="1"/>
          </p:cNvSpPr>
          <p:nvPr>
            <p:ph type="body" sz="quarter" idx="17"/>
          </p:nvPr>
        </p:nvSpPr>
        <p:spPr>
          <a:xfrm>
            <a:off x="623888" y="6235200"/>
            <a:ext cx="9504000" cy="431800"/>
          </a:xfrm>
        </p:spPr>
        <p:txBody>
          <a:bodyPr lIns="0" tIns="0" rIns="0" bIns="0" numCol="1" anchor="b"/>
          <a:lstStyle>
            <a:lvl1pPr marL="0" indent="0">
              <a:spcBef>
                <a:spcPts val="0"/>
              </a:spcBef>
              <a:spcAft>
                <a:spcPts val="0"/>
              </a:spcAft>
              <a:buNone/>
              <a:defRPr sz="800"/>
            </a:lvl1pPr>
            <a:lvl2pPr marL="108000" indent="0">
              <a:buNone/>
              <a:defRPr sz="800"/>
            </a:lvl2pPr>
            <a:lvl3pPr marL="180000" indent="0">
              <a:buNone/>
              <a:defRPr sz="800"/>
            </a:lvl3pPr>
            <a:lvl4pPr marL="180000" indent="0">
              <a:buNone/>
              <a:defRPr sz="800"/>
            </a:lvl4pPr>
            <a:lvl5pPr marL="180000" indent="0">
              <a:buNone/>
              <a:defRPr sz="800"/>
            </a:lvl5pPr>
          </a:lstStyle>
          <a:p>
            <a:pPr lvl="0"/>
            <a:endParaRPr lang="fi-FI" altLang="fi-FI" dirty="0"/>
          </a:p>
        </p:txBody>
      </p:sp>
    </p:spTree>
    <p:extLst>
      <p:ext uri="{BB962C8B-B14F-4D97-AF65-F5344CB8AC3E}">
        <p14:creationId xmlns:p14="http://schemas.microsoft.com/office/powerpoint/2010/main" val="3788431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BA139-E9F5-4F84-A834-D8A4208F6484}"/>
              </a:ext>
            </a:extLst>
          </p:cNvPr>
          <p:cNvSpPr>
            <a:spLocks noGrp="1"/>
          </p:cNvSpPr>
          <p:nvPr>
            <p:ph type="title"/>
          </p:nvPr>
        </p:nvSpPr>
        <p:spPr/>
        <p:txBody>
          <a:bodyPr/>
          <a:lstStyle>
            <a:lvl1pPr>
              <a:defRPr>
                <a:solidFill>
                  <a:srgbClr val="0D1DB2"/>
                </a:solidFill>
              </a:defRPr>
            </a:lvl1pPr>
          </a:lstStyle>
          <a:p>
            <a:r>
              <a:rPr lang="en-US" dirty="0"/>
              <a:t>Click to edit Master title style</a:t>
            </a:r>
            <a:endParaRPr lang="fi-FI" dirty="0"/>
          </a:p>
        </p:txBody>
      </p:sp>
      <p:sp>
        <p:nvSpPr>
          <p:cNvPr id="3" name="Content Placeholder 2">
            <a:extLst>
              <a:ext uri="{FF2B5EF4-FFF2-40B4-BE49-F238E27FC236}">
                <a16:creationId xmlns:a16="http://schemas.microsoft.com/office/drawing/2014/main" id="{5E91DA13-B7F9-44F1-8895-864ECB190629}"/>
              </a:ext>
            </a:extLst>
          </p:cNvPr>
          <p:cNvSpPr>
            <a:spLocks noGrp="1"/>
          </p:cNvSpPr>
          <p:nvPr>
            <p:ph idx="1"/>
          </p:nvPr>
        </p:nvSpPr>
        <p:spPr/>
        <p:txBody>
          <a:bodyPr/>
          <a:lstStyle>
            <a:lvl1pPr>
              <a:buClr>
                <a:srgbClr val="00E5C4"/>
              </a:buClr>
              <a:defRPr>
                <a:solidFill>
                  <a:schemeClr val="tx1"/>
                </a:solidFill>
              </a:defRPr>
            </a:lvl1pPr>
            <a:lvl2pPr>
              <a:buClr>
                <a:srgbClr val="00E5C4"/>
              </a:buClr>
              <a:defRPr/>
            </a:lvl2pPr>
            <a:lvl3pPr>
              <a:buClr>
                <a:srgbClr val="00E5C4"/>
              </a:buClr>
              <a:defRPr/>
            </a:lvl3pPr>
            <a:lvl4pPr>
              <a:buClr>
                <a:srgbClr val="00E5C4"/>
              </a:buClr>
              <a:defRPr/>
            </a:lvl4pPr>
            <a:lvl5pPr>
              <a:buClr>
                <a:srgbClr val="00E5C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 name="Date Placeholder 3">
            <a:extLst>
              <a:ext uri="{FF2B5EF4-FFF2-40B4-BE49-F238E27FC236}">
                <a16:creationId xmlns:a16="http://schemas.microsoft.com/office/drawing/2014/main" id="{7D241276-C710-415B-80DC-BF74728E64C9}"/>
              </a:ext>
            </a:extLst>
          </p:cNvPr>
          <p:cNvSpPr>
            <a:spLocks noGrp="1"/>
          </p:cNvSpPr>
          <p:nvPr>
            <p:ph type="dt" sz="half" idx="10"/>
          </p:nvPr>
        </p:nvSpPr>
        <p:spPr/>
        <p:txBody>
          <a:bodyPr/>
          <a:lstStyle/>
          <a:p>
            <a:fld id="{04A3C794-F773-4478-A4F1-C457396200C1}" type="datetimeFigureOut">
              <a:rPr lang="fi-FI" smtClean="0"/>
              <a:t>22.8.2025</a:t>
            </a:fld>
            <a:endParaRPr lang="fi-FI"/>
          </a:p>
        </p:txBody>
      </p:sp>
      <p:sp>
        <p:nvSpPr>
          <p:cNvPr id="5" name="Footer Placeholder 4">
            <a:extLst>
              <a:ext uri="{FF2B5EF4-FFF2-40B4-BE49-F238E27FC236}">
                <a16:creationId xmlns:a16="http://schemas.microsoft.com/office/drawing/2014/main" id="{FDDB7E4C-E950-462B-A7CD-5A2D1CAEF539}"/>
              </a:ext>
            </a:extLst>
          </p:cNvPr>
          <p:cNvSpPr>
            <a:spLocks noGrp="1"/>
          </p:cNvSpPr>
          <p:nvPr>
            <p:ph type="ftr" sz="quarter" idx="11"/>
          </p:nvPr>
        </p:nvSpPr>
        <p:spPr>
          <a:xfrm>
            <a:off x="4038600" y="6356350"/>
            <a:ext cx="4114800" cy="365125"/>
          </a:xfrm>
          <a:prstGeom prst="rect">
            <a:avLst/>
          </a:prstGeom>
        </p:spPr>
        <p:txBody>
          <a:bodyPr/>
          <a:lstStyle/>
          <a:p>
            <a:endParaRPr lang="fi-FI"/>
          </a:p>
        </p:txBody>
      </p:sp>
      <p:sp>
        <p:nvSpPr>
          <p:cNvPr id="6" name="Slide Number Placeholder 5">
            <a:extLst>
              <a:ext uri="{FF2B5EF4-FFF2-40B4-BE49-F238E27FC236}">
                <a16:creationId xmlns:a16="http://schemas.microsoft.com/office/drawing/2014/main" id="{74F1B7C8-E28C-424E-AB3F-0C9A31F24A41}"/>
              </a:ext>
            </a:extLst>
          </p:cNvPr>
          <p:cNvSpPr>
            <a:spLocks noGrp="1"/>
          </p:cNvSpPr>
          <p:nvPr>
            <p:ph type="sldNum" sz="quarter" idx="12"/>
          </p:nvPr>
        </p:nvSpPr>
        <p:spPr/>
        <p:txBody>
          <a:bodyPr/>
          <a:lstStyle/>
          <a:p>
            <a:fld id="{419A5884-4189-42A7-BC40-51C75C773DD1}" type="slidenum">
              <a:rPr lang="fi-FI" smtClean="0"/>
              <a:t>‹#›</a:t>
            </a:fld>
            <a:endParaRPr lang="fi-FI"/>
          </a:p>
        </p:txBody>
      </p:sp>
    </p:spTree>
    <p:extLst>
      <p:ext uri="{BB962C8B-B14F-4D97-AF65-F5344CB8AC3E}">
        <p14:creationId xmlns:p14="http://schemas.microsoft.com/office/powerpoint/2010/main" val="3477636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2">
    <p:spTree>
      <p:nvGrpSpPr>
        <p:cNvPr id="1" name=""/>
        <p:cNvGrpSpPr/>
        <p:nvPr/>
      </p:nvGrpSpPr>
      <p:grpSpPr>
        <a:xfrm>
          <a:off x="0" y="0"/>
          <a:ext cx="0" cy="0"/>
          <a:chOff x="0" y="0"/>
          <a:chExt cx="0" cy="0"/>
        </a:xfrm>
      </p:grpSpPr>
      <p:sp>
        <p:nvSpPr>
          <p:cNvPr id="16" name="Picture Placeholder 9"/>
          <p:cNvSpPr>
            <a:spLocks noGrp="1"/>
          </p:cNvSpPr>
          <p:nvPr>
            <p:ph type="pic" sz="quarter" idx="13" hasCustomPrompt="1"/>
          </p:nvPr>
        </p:nvSpPr>
        <p:spPr bwMode="gray">
          <a:xfrm>
            <a:off x="338667" y="254000"/>
            <a:ext cx="11514667" cy="5905500"/>
          </a:xfrm>
          <a:solidFill>
            <a:schemeClr val="tx1">
              <a:lumMod val="50000"/>
              <a:lumOff val="50000"/>
            </a:schemeClr>
          </a:solidFill>
        </p:spPr>
        <p:txBody>
          <a:bodyPr anchor="ctr"/>
          <a:lstStyle>
            <a:lvl1pPr algn="ctr">
              <a:defRPr b="0" i="0">
                <a:latin typeface="Gotham-Bold"/>
                <a:cs typeface="Gotham-Bold"/>
              </a:defRPr>
            </a:lvl1pPr>
          </a:lstStyle>
          <a:p>
            <a:r>
              <a:rPr lang="en-US" dirty="0"/>
              <a:t>Click icon to add picture</a:t>
            </a:r>
          </a:p>
        </p:txBody>
      </p:sp>
      <p:sp>
        <p:nvSpPr>
          <p:cNvPr id="20" name="Title Placeholder 1"/>
          <p:cNvSpPr>
            <a:spLocks noGrp="1"/>
          </p:cNvSpPr>
          <p:nvPr>
            <p:ph type="ctrTitle" hasCustomPrompt="1"/>
          </p:nvPr>
        </p:nvSpPr>
        <p:spPr>
          <a:xfrm>
            <a:off x="914400" y="2708920"/>
            <a:ext cx="10363200" cy="1296144"/>
          </a:xfrm>
        </p:spPr>
        <p:txBody>
          <a:bodyPr anchor="ctr" anchorCtr="0"/>
          <a:lstStyle>
            <a:lvl1pPr algn="ctr">
              <a:lnSpc>
                <a:spcPct val="70000"/>
              </a:lnSpc>
              <a:defRPr sz="4800">
                <a:latin typeface="+mj-lt"/>
                <a:ea typeface="ＭＳ Ｐゴシック" charset="0"/>
                <a:cs typeface="Gotham Narrow Bold"/>
              </a:defRPr>
            </a:lvl1pPr>
          </a:lstStyle>
          <a:p>
            <a:pPr lvl="0"/>
            <a:r>
              <a:rPr lang="fi-FI" noProof="0" dirty="0"/>
              <a:t>CLICK TO ADD TITLE</a:t>
            </a:r>
          </a:p>
        </p:txBody>
      </p:sp>
      <p:sp>
        <p:nvSpPr>
          <p:cNvPr id="43011" name="Text Placeholder 2"/>
          <p:cNvSpPr>
            <a:spLocks noGrp="1"/>
          </p:cNvSpPr>
          <p:nvPr>
            <p:ph type="subTitle" idx="1" hasCustomPrompt="1"/>
          </p:nvPr>
        </p:nvSpPr>
        <p:spPr>
          <a:xfrm>
            <a:off x="914400" y="4267200"/>
            <a:ext cx="10363200" cy="1371600"/>
          </a:xfrm>
        </p:spPr>
        <p:txBody>
          <a:bodyPr/>
          <a:lstStyle>
            <a:lvl1pPr algn="ctr">
              <a:lnSpc>
                <a:spcPct val="90000"/>
              </a:lnSpc>
              <a:spcAft>
                <a:spcPct val="0"/>
              </a:spcAft>
              <a:defRPr b="0">
                <a:latin typeface="+mj-lt"/>
                <a:ea typeface="ＭＳ Ｐゴシック" charset="0"/>
                <a:cs typeface="Gotham Narrow Bold"/>
              </a:defRPr>
            </a:lvl1pPr>
          </a:lstStyle>
          <a:p>
            <a:pPr lvl="0"/>
            <a:r>
              <a:rPr lang="fi-FI" noProof="0" dirty="0" err="1"/>
              <a:t>Click</a:t>
            </a:r>
            <a:r>
              <a:rPr lang="fi-FI" noProof="0" dirty="0"/>
              <a:t> to </a:t>
            </a:r>
            <a:r>
              <a:rPr lang="fi-FI" noProof="0" dirty="0" err="1"/>
              <a:t>add</a:t>
            </a:r>
            <a:r>
              <a:rPr lang="fi-FI" noProof="0" dirty="0"/>
              <a:t> </a:t>
            </a:r>
            <a:r>
              <a:rPr lang="fi-FI" noProof="0" dirty="0" err="1"/>
              <a:t>subtitle</a:t>
            </a:r>
            <a:endParaRPr lang="fi-FI" noProof="0" dirty="0"/>
          </a:p>
        </p:txBody>
      </p:sp>
      <p:sp>
        <p:nvSpPr>
          <p:cNvPr id="2" name="Päivämäärän paikkamerkki 1"/>
          <p:cNvSpPr>
            <a:spLocks noGrp="1"/>
          </p:cNvSpPr>
          <p:nvPr>
            <p:ph type="dt" sz="half" idx="14"/>
          </p:nvPr>
        </p:nvSpPr>
        <p:spPr/>
        <p:txBody>
          <a:bodyPr/>
          <a:lstStyle/>
          <a:p>
            <a:pPr>
              <a:defRPr/>
            </a:pPr>
            <a:fld id="{B1B021A1-6BD4-49A7-92E2-FC3E77E7D7D7}" type="datetime1">
              <a:rPr lang="en-GB" smtClean="0"/>
              <a:t>22/08/2025</a:t>
            </a:fld>
            <a:endParaRPr lang="fi-FI" dirty="0"/>
          </a:p>
        </p:txBody>
      </p:sp>
      <p:sp>
        <p:nvSpPr>
          <p:cNvPr id="3" name="Alatunnisteen paikkamerkki 2"/>
          <p:cNvSpPr>
            <a:spLocks noGrp="1"/>
          </p:cNvSpPr>
          <p:nvPr>
            <p:ph type="ftr" sz="quarter" idx="15"/>
          </p:nvPr>
        </p:nvSpPr>
        <p:spPr/>
        <p:txBody>
          <a:bodyPr/>
          <a:lstStyle/>
          <a:p>
            <a:r>
              <a:rPr lang="fi-FI"/>
              <a:t>Presentation Name / Firstname Lastname</a:t>
            </a:r>
            <a:endParaRPr lang="fi-FI" dirty="0"/>
          </a:p>
        </p:txBody>
      </p:sp>
      <p:sp>
        <p:nvSpPr>
          <p:cNvPr id="4" name="Dian numeron paikkamerkki 3"/>
          <p:cNvSpPr>
            <a:spLocks noGrp="1"/>
          </p:cNvSpPr>
          <p:nvPr>
            <p:ph type="sldNum" sz="quarter" idx="16"/>
          </p:nvPr>
        </p:nvSpPr>
        <p:spPr/>
        <p:txBody>
          <a:bodyPr/>
          <a:lstStyle/>
          <a:p>
            <a:pPr>
              <a:defRPr/>
            </a:pPr>
            <a:fld id="{4669315E-5A66-CF44-AE5D-C333B2F730C4}" type="slidenum">
              <a:rPr lang="en-GB" smtClean="0"/>
              <a:pPr>
                <a:defRPr/>
              </a:pPr>
              <a:t>‹#›</a:t>
            </a:fld>
            <a:endParaRPr lang="en-GB" dirty="0"/>
          </a:p>
        </p:txBody>
      </p:sp>
      <p:grpSp>
        <p:nvGrpSpPr>
          <p:cNvPr id="12" name="Ryhmä 11"/>
          <p:cNvGrpSpPr/>
          <p:nvPr userDrawn="1"/>
        </p:nvGrpSpPr>
        <p:grpSpPr bwMode="white">
          <a:xfrm>
            <a:off x="347250" y="260248"/>
            <a:ext cx="2491200" cy="2334818"/>
            <a:chOff x="1311275" y="373063"/>
            <a:chExt cx="6524625" cy="6115050"/>
          </a:xfrm>
          <a:solidFill>
            <a:schemeClr val="bg1"/>
          </a:solidFill>
        </p:grpSpPr>
        <p:sp>
          <p:nvSpPr>
            <p:cNvPr id="13" name="Rectangle 5"/>
            <p:cNvSpPr>
              <a:spLocks noChangeArrowheads="1"/>
            </p:cNvSpPr>
            <p:nvPr userDrawn="1"/>
          </p:nvSpPr>
          <p:spPr bwMode="white">
            <a:xfrm>
              <a:off x="4267200" y="5875338"/>
              <a:ext cx="609600" cy="612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Rectangle 6"/>
            <p:cNvSpPr>
              <a:spLocks noChangeArrowheads="1"/>
            </p:cNvSpPr>
            <p:nvPr userDrawn="1"/>
          </p:nvSpPr>
          <p:spPr bwMode="white">
            <a:xfrm>
              <a:off x="4267200" y="373063"/>
              <a:ext cx="609600" cy="609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7"/>
            <p:cNvSpPr>
              <a:spLocks noEditPoints="1"/>
            </p:cNvSpPr>
            <p:nvPr userDrawn="1"/>
          </p:nvSpPr>
          <p:spPr bwMode="white">
            <a:xfrm>
              <a:off x="1311275" y="1436688"/>
              <a:ext cx="6524625" cy="4152900"/>
            </a:xfrm>
            <a:custGeom>
              <a:avLst/>
              <a:gdLst>
                <a:gd name="T0" fmla="*/ 3947 w 4110"/>
                <a:gd name="T1" fmla="*/ 1670 h 2616"/>
                <a:gd name="T2" fmla="*/ 3459 w 4110"/>
                <a:gd name="T3" fmla="*/ 1403 h 2616"/>
                <a:gd name="T4" fmla="*/ 3294 w 4110"/>
                <a:gd name="T5" fmla="*/ 1199 h 2616"/>
                <a:gd name="T6" fmla="*/ 3062 w 4110"/>
                <a:gd name="T7" fmla="*/ 1048 h 2616"/>
                <a:gd name="T8" fmla="*/ 2897 w 4110"/>
                <a:gd name="T9" fmla="*/ 789 h 2616"/>
                <a:gd name="T10" fmla="*/ 2734 w 4110"/>
                <a:gd name="T11" fmla="*/ 314 h 2616"/>
                <a:gd name="T12" fmla="*/ 2417 w 4110"/>
                <a:gd name="T13" fmla="*/ 63 h 2616"/>
                <a:gd name="T14" fmla="*/ 2077 w 4110"/>
                <a:gd name="T15" fmla="*/ 19 h 2616"/>
                <a:gd name="T16" fmla="*/ 2204 w 4110"/>
                <a:gd name="T17" fmla="*/ 197 h 2616"/>
                <a:gd name="T18" fmla="*/ 2175 w 4110"/>
                <a:gd name="T19" fmla="*/ 357 h 2616"/>
                <a:gd name="T20" fmla="*/ 2041 w 4110"/>
                <a:gd name="T21" fmla="*/ 433 h 2616"/>
                <a:gd name="T22" fmla="*/ 1818 w 4110"/>
                <a:gd name="T23" fmla="*/ 362 h 2616"/>
                <a:gd name="T24" fmla="*/ 1518 w 4110"/>
                <a:gd name="T25" fmla="*/ 159 h 2616"/>
                <a:gd name="T26" fmla="*/ 1213 w 4110"/>
                <a:gd name="T27" fmla="*/ 130 h 2616"/>
                <a:gd name="T28" fmla="*/ 1198 w 4110"/>
                <a:gd name="T29" fmla="*/ 209 h 2616"/>
                <a:gd name="T30" fmla="*/ 1401 w 4110"/>
                <a:gd name="T31" fmla="*/ 481 h 2616"/>
                <a:gd name="T32" fmla="*/ 1555 w 4110"/>
                <a:gd name="T33" fmla="*/ 708 h 2616"/>
                <a:gd name="T34" fmla="*/ 1672 w 4110"/>
                <a:gd name="T35" fmla="*/ 796 h 2616"/>
                <a:gd name="T36" fmla="*/ 1405 w 4110"/>
                <a:gd name="T37" fmla="*/ 787 h 2616"/>
                <a:gd name="T38" fmla="*/ 1102 w 4110"/>
                <a:gd name="T39" fmla="*/ 558 h 2616"/>
                <a:gd name="T40" fmla="*/ 821 w 4110"/>
                <a:gd name="T41" fmla="*/ 395 h 2616"/>
                <a:gd name="T42" fmla="*/ 531 w 4110"/>
                <a:gd name="T43" fmla="*/ 426 h 2616"/>
                <a:gd name="T44" fmla="*/ 748 w 4110"/>
                <a:gd name="T45" fmla="*/ 537 h 2616"/>
                <a:gd name="T46" fmla="*/ 762 w 4110"/>
                <a:gd name="T47" fmla="*/ 704 h 2616"/>
                <a:gd name="T48" fmla="*/ 608 w 4110"/>
                <a:gd name="T49" fmla="*/ 689 h 2616"/>
                <a:gd name="T50" fmla="*/ 387 w 4110"/>
                <a:gd name="T51" fmla="*/ 529 h 2616"/>
                <a:gd name="T52" fmla="*/ 103 w 4110"/>
                <a:gd name="T53" fmla="*/ 499 h 2616"/>
                <a:gd name="T54" fmla="*/ 157 w 4110"/>
                <a:gd name="T55" fmla="*/ 597 h 2616"/>
                <a:gd name="T56" fmla="*/ 397 w 4110"/>
                <a:gd name="T57" fmla="*/ 913 h 2616"/>
                <a:gd name="T58" fmla="*/ 578 w 4110"/>
                <a:gd name="T59" fmla="*/ 1190 h 2616"/>
                <a:gd name="T60" fmla="*/ 954 w 4110"/>
                <a:gd name="T61" fmla="*/ 1253 h 2616"/>
                <a:gd name="T62" fmla="*/ 1184 w 4110"/>
                <a:gd name="T63" fmla="*/ 1316 h 2616"/>
                <a:gd name="T64" fmla="*/ 1250 w 4110"/>
                <a:gd name="T65" fmla="*/ 1526 h 2616"/>
                <a:gd name="T66" fmla="*/ 1365 w 4110"/>
                <a:gd name="T67" fmla="*/ 1691 h 2616"/>
                <a:gd name="T68" fmla="*/ 1601 w 4110"/>
                <a:gd name="T69" fmla="*/ 1766 h 2616"/>
                <a:gd name="T70" fmla="*/ 1384 w 4110"/>
                <a:gd name="T71" fmla="*/ 1823 h 2616"/>
                <a:gd name="T72" fmla="*/ 965 w 4110"/>
                <a:gd name="T73" fmla="*/ 1706 h 2616"/>
                <a:gd name="T74" fmla="*/ 971 w 4110"/>
                <a:gd name="T75" fmla="*/ 1890 h 2616"/>
                <a:gd name="T76" fmla="*/ 1173 w 4110"/>
                <a:gd name="T77" fmla="*/ 2136 h 2616"/>
                <a:gd name="T78" fmla="*/ 1534 w 4110"/>
                <a:gd name="T79" fmla="*/ 2226 h 2616"/>
                <a:gd name="T80" fmla="*/ 1883 w 4110"/>
                <a:gd name="T81" fmla="*/ 2182 h 2616"/>
                <a:gd name="T82" fmla="*/ 1985 w 4110"/>
                <a:gd name="T83" fmla="*/ 2299 h 2616"/>
                <a:gd name="T84" fmla="*/ 2154 w 4110"/>
                <a:gd name="T85" fmla="*/ 2418 h 2616"/>
                <a:gd name="T86" fmla="*/ 2476 w 4110"/>
                <a:gd name="T87" fmla="*/ 2413 h 2616"/>
                <a:gd name="T88" fmla="*/ 2797 w 4110"/>
                <a:gd name="T89" fmla="*/ 2585 h 2616"/>
                <a:gd name="T90" fmla="*/ 2803 w 4110"/>
                <a:gd name="T91" fmla="*/ 2395 h 2616"/>
                <a:gd name="T92" fmla="*/ 2594 w 4110"/>
                <a:gd name="T93" fmla="*/ 2119 h 2616"/>
                <a:gd name="T94" fmla="*/ 2403 w 4110"/>
                <a:gd name="T95" fmla="*/ 1960 h 2616"/>
                <a:gd name="T96" fmla="*/ 2426 w 4110"/>
                <a:gd name="T97" fmla="*/ 1890 h 2616"/>
                <a:gd name="T98" fmla="*/ 2663 w 4110"/>
                <a:gd name="T99" fmla="*/ 1996 h 2616"/>
                <a:gd name="T100" fmla="*/ 3012 w 4110"/>
                <a:gd name="T101" fmla="*/ 2088 h 2616"/>
                <a:gd name="T102" fmla="*/ 3156 w 4110"/>
                <a:gd name="T103" fmla="*/ 2125 h 2616"/>
                <a:gd name="T104" fmla="*/ 3035 w 4110"/>
                <a:gd name="T105" fmla="*/ 1900 h 2616"/>
                <a:gd name="T106" fmla="*/ 2837 w 4110"/>
                <a:gd name="T107" fmla="*/ 1698 h 2616"/>
                <a:gd name="T108" fmla="*/ 3185 w 4110"/>
                <a:gd name="T109" fmla="*/ 1746 h 2616"/>
                <a:gd name="T110" fmla="*/ 3440 w 4110"/>
                <a:gd name="T111" fmla="*/ 1741 h 2616"/>
                <a:gd name="T112" fmla="*/ 3596 w 4110"/>
                <a:gd name="T113" fmla="*/ 1842 h 2616"/>
                <a:gd name="T114" fmla="*/ 3951 w 4110"/>
                <a:gd name="T115" fmla="*/ 1816 h 2616"/>
                <a:gd name="T116" fmla="*/ 2246 w 4110"/>
                <a:gd name="T117" fmla="*/ 1449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10" h="2616">
                  <a:moveTo>
                    <a:pt x="4110" y="1887"/>
                  </a:moveTo>
                  <a:lnTo>
                    <a:pt x="4095" y="1858"/>
                  </a:lnTo>
                  <a:lnTo>
                    <a:pt x="4080" y="1829"/>
                  </a:lnTo>
                  <a:lnTo>
                    <a:pt x="4062" y="1802"/>
                  </a:lnTo>
                  <a:lnTo>
                    <a:pt x="4045" y="1777"/>
                  </a:lnTo>
                  <a:lnTo>
                    <a:pt x="4028" y="1754"/>
                  </a:lnTo>
                  <a:lnTo>
                    <a:pt x="4009" y="1731"/>
                  </a:lnTo>
                  <a:lnTo>
                    <a:pt x="3989" y="1710"/>
                  </a:lnTo>
                  <a:lnTo>
                    <a:pt x="3968" y="1689"/>
                  </a:lnTo>
                  <a:lnTo>
                    <a:pt x="3947" y="1670"/>
                  </a:lnTo>
                  <a:lnTo>
                    <a:pt x="3926" y="1652"/>
                  </a:lnTo>
                  <a:lnTo>
                    <a:pt x="3903" y="1635"/>
                  </a:lnTo>
                  <a:lnTo>
                    <a:pt x="3882" y="1618"/>
                  </a:lnTo>
                  <a:lnTo>
                    <a:pt x="3834" y="1589"/>
                  </a:lnTo>
                  <a:lnTo>
                    <a:pt x="3788" y="1560"/>
                  </a:lnTo>
                  <a:lnTo>
                    <a:pt x="3690" y="1512"/>
                  </a:lnTo>
                  <a:lnTo>
                    <a:pt x="3594" y="1468"/>
                  </a:lnTo>
                  <a:lnTo>
                    <a:pt x="3548" y="1447"/>
                  </a:lnTo>
                  <a:lnTo>
                    <a:pt x="3504" y="1426"/>
                  </a:lnTo>
                  <a:lnTo>
                    <a:pt x="3459" y="1403"/>
                  </a:lnTo>
                  <a:lnTo>
                    <a:pt x="3419" y="1378"/>
                  </a:lnTo>
                  <a:lnTo>
                    <a:pt x="3402" y="1364"/>
                  </a:lnTo>
                  <a:lnTo>
                    <a:pt x="3385" y="1351"/>
                  </a:lnTo>
                  <a:lnTo>
                    <a:pt x="3369" y="1336"/>
                  </a:lnTo>
                  <a:lnTo>
                    <a:pt x="3356" y="1318"/>
                  </a:lnTo>
                  <a:lnTo>
                    <a:pt x="3342" y="1299"/>
                  </a:lnTo>
                  <a:lnTo>
                    <a:pt x="3331" y="1282"/>
                  </a:lnTo>
                  <a:lnTo>
                    <a:pt x="3319" y="1263"/>
                  </a:lnTo>
                  <a:lnTo>
                    <a:pt x="3310" y="1242"/>
                  </a:lnTo>
                  <a:lnTo>
                    <a:pt x="3294" y="1199"/>
                  </a:lnTo>
                  <a:lnTo>
                    <a:pt x="3281" y="1157"/>
                  </a:lnTo>
                  <a:lnTo>
                    <a:pt x="3271" y="1115"/>
                  </a:lnTo>
                  <a:lnTo>
                    <a:pt x="3264" y="1073"/>
                  </a:lnTo>
                  <a:lnTo>
                    <a:pt x="3223" y="1076"/>
                  </a:lnTo>
                  <a:lnTo>
                    <a:pt x="3179" y="1076"/>
                  </a:lnTo>
                  <a:lnTo>
                    <a:pt x="3156" y="1075"/>
                  </a:lnTo>
                  <a:lnTo>
                    <a:pt x="3133" y="1071"/>
                  </a:lnTo>
                  <a:lnTo>
                    <a:pt x="3110" y="1065"/>
                  </a:lnTo>
                  <a:lnTo>
                    <a:pt x="3087" y="1057"/>
                  </a:lnTo>
                  <a:lnTo>
                    <a:pt x="3062" y="1048"/>
                  </a:lnTo>
                  <a:lnTo>
                    <a:pt x="3039" y="1034"/>
                  </a:lnTo>
                  <a:lnTo>
                    <a:pt x="3018" y="1019"/>
                  </a:lnTo>
                  <a:lnTo>
                    <a:pt x="2997" y="1000"/>
                  </a:lnTo>
                  <a:lnTo>
                    <a:pt x="2976" y="979"/>
                  </a:lnTo>
                  <a:lnTo>
                    <a:pt x="2956" y="952"/>
                  </a:lnTo>
                  <a:lnTo>
                    <a:pt x="2939" y="921"/>
                  </a:lnTo>
                  <a:lnTo>
                    <a:pt x="2924" y="886"/>
                  </a:lnTo>
                  <a:lnTo>
                    <a:pt x="2912" y="856"/>
                  </a:lnTo>
                  <a:lnTo>
                    <a:pt x="2905" y="823"/>
                  </a:lnTo>
                  <a:lnTo>
                    <a:pt x="2897" y="789"/>
                  </a:lnTo>
                  <a:lnTo>
                    <a:pt x="2889" y="752"/>
                  </a:lnTo>
                  <a:lnTo>
                    <a:pt x="2874" y="675"/>
                  </a:lnTo>
                  <a:lnTo>
                    <a:pt x="2857" y="593"/>
                  </a:lnTo>
                  <a:lnTo>
                    <a:pt x="2845" y="550"/>
                  </a:lnTo>
                  <a:lnTo>
                    <a:pt x="2834" y="508"/>
                  </a:lnTo>
                  <a:lnTo>
                    <a:pt x="2816" y="464"/>
                  </a:lnTo>
                  <a:lnTo>
                    <a:pt x="2797" y="422"/>
                  </a:lnTo>
                  <a:lnTo>
                    <a:pt x="2776" y="378"/>
                  </a:lnTo>
                  <a:lnTo>
                    <a:pt x="2749" y="335"/>
                  </a:lnTo>
                  <a:lnTo>
                    <a:pt x="2734" y="314"/>
                  </a:lnTo>
                  <a:lnTo>
                    <a:pt x="2718" y="293"/>
                  </a:lnTo>
                  <a:lnTo>
                    <a:pt x="2701" y="272"/>
                  </a:lnTo>
                  <a:lnTo>
                    <a:pt x="2682" y="251"/>
                  </a:lnTo>
                  <a:lnTo>
                    <a:pt x="2647" y="216"/>
                  </a:lnTo>
                  <a:lnTo>
                    <a:pt x="2611" y="184"/>
                  </a:lnTo>
                  <a:lnTo>
                    <a:pt x="2572" y="153"/>
                  </a:lnTo>
                  <a:lnTo>
                    <a:pt x="2534" y="126"/>
                  </a:lnTo>
                  <a:lnTo>
                    <a:pt x="2496" y="101"/>
                  </a:lnTo>
                  <a:lnTo>
                    <a:pt x="2457" y="80"/>
                  </a:lnTo>
                  <a:lnTo>
                    <a:pt x="2417" y="63"/>
                  </a:lnTo>
                  <a:lnTo>
                    <a:pt x="2377" y="46"/>
                  </a:lnTo>
                  <a:lnTo>
                    <a:pt x="2336" y="32"/>
                  </a:lnTo>
                  <a:lnTo>
                    <a:pt x="2296" y="21"/>
                  </a:lnTo>
                  <a:lnTo>
                    <a:pt x="2256" y="13"/>
                  </a:lnTo>
                  <a:lnTo>
                    <a:pt x="2215" y="5"/>
                  </a:lnTo>
                  <a:lnTo>
                    <a:pt x="2175" y="1"/>
                  </a:lnTo>
                  <a:lnTo>
                    <a:pt x="2135" y="0"/>
                  </a:lnTo>
                  <a:lnTo>
                    <a:pt x="2094" y="0"/>
                  </a:lnTo>
                  <a:lnTo>
                    <a:pt x="2054" y="1"/>
                  </a:lnTo>
                  <a:lnTo>
                    <a:pt x="2077" y="19"/>
                  </a:lnTo>
                  <a:lnTo>
                    <a:pt x="2098" y="34"/>
                  </a:lnTo>
                  <a:lnTo>
                    <a:pt x="2117" y="51"/>
                  </a:lnTo>
                  <a:lnTo>
                    <a:pt x="2135" y="71"/>
                  </a:lnTo>
                  <a:lnTo>
                    <a:pt x="2150" y="88"/>
                  </a:lnTo>
                  <a:lnTo>
                    <a:pt x="2163" y="105"/>
                  </a:lnTo>
                  <a:lnTo>
                    <a:pt x="2175" y="124"/>
                  </a:lnTo>
                  <a:lnTo>
                    <a:pt x="2185" y="142"/>
                  </a:lnTo>
                  <a:lnTo>
                    <a:pt x="2192" y="161"/>
                  </a:lnTo>
                  <a:lnTo>
                    <a:pt x="2200" y="178"/>
                  </a:lnTo>
                  <a:lnTo>
                    <a:pt x="2204" y="197"/>
                  </a:lnTo>
                  <a:lnTo>
                    <a:pt x="2208" y="215"/>
                  </a:lnTo>
                  <a:lnTo>
                    <a:pt x="2210" y="232"/>
                  </a:lnTo>
                  <a:lnTo>
                    <a:pt x="2210" y="249"/>
                  </a:lnTo>
                  <a:lnTo>
                    <a:pt x="2208" y="266"/>
                  </a:lnTo>
                  <a:lnTo>
                    <a:pt x="2206" y="284"/>
                  </a:lnTo>
                  <a:lnTo>
                    <a:pt x="2202" y="299"/>
                  </a:lnTo>
                  <a:lnTo>
                    <a:pt x="2198" y="314"/>
                  </a:lnTo>
                  <a:lnTo>
                    <a:pt x="2190" y="330"/>
                  </a:lnTo>
                  <a:lnTo>
                    <a:pt x="2183" y="343"/>
                  </a:lnTo>
                  <a:lnTo>
                    <a:pt x="2175" y="357"/>
                  </a:lnTo>
                  <a:lnTo>
                    <a:pt x="2165" y="370"/>
                  </a:lnTo>
                  <a:lnTo>
                    <a:pt x="2156" y="382"/>
                  </a:lnTo>
                  <a:lnTo>
                    <a:pt x="2144" y="391"/>
                  </a:lnTo>
                  <a:lnTo>
                    <a:pt x="2131" y="401"/>
                  </a:lnTo>
                  <a:lnTo>
                    <a:pt x="2117" y="410"/>
                  </a:lnTo>
                  <a:lnTo>
                    <a:pt x="2104" y="418"/>
                  </a:lnTo>
                  <a:lnTo>
                    <a:pt x="2089" y="424"/>
                  </a:lnTo>
                  <a:lnTo>
                    <a:pt x="2073" y="428"/>
                  </a:lnTo>
                  <a:lnTo>
                    <a:pt x="2058" y="431"/>
                  </a:lnTo>
                  <a:lnTo>
                    <a:pt x="2041" y="433"/>
                  </a:lnTo>
                  <a:lnTo>
                    <a:pt x="2023" y="435"/>
                  </a:lnTo>
                  <a:lnTo>
                    <a:pt x="1998" y="433"/>
                  </a:lnTo>
                  <a:lnTo>
                    <a:pt x="1975" y="431"/>
                  </a:lnTo>
                  <a:lnTo>
                    <a:pt x="1954" y="428"/>
                  </a:lnTo>
                  <a:lnTo>
                    <a:pt x="1933" y="422"/>
                  </a:lnTo>
                  <a:lnTo>
                    <a:pt x="1912" y="414"/>
                  </a:lnTo>
                  <a:lnTo>
                    <a:pt x="1893" y="407"/>
                  </a:lnTo>
                  <a:lnTo>
                    <a:pt x="1874" y="397"/>
                  </a:lnTo>
                  <a:lnTo>
                    <a:pt x="1854" y="385"/>
                  </a:lnTo>
                  <a:lnTo>
                    <a:pt x="1818" y="362"/>
                  </a:lnTo>
                  <a:lnTo>
                    <a:pt x="1781" y="335"/>
                  </a:lnTo>
                  <a:lnTo>
                    <a:pt x="1747" y="307"/>
                  </a:lnTo>
                  <a:lnTo>
                    <a:pt x="1710" y="278"/>
                  </a:lnTo>
                  <a:lnTo>
                    <a:pt x="1672" y="247"/>
                  </a:lnTo>
                  <a:lnTo>
                    <a:pt x="1632" y="220"/>
                  </a:lnTo>
                  <a:lnTo>
                    <a:pt x="1610" y="207"/>
                  </a:lnTo>
                  <a:lnTo>
                    <a:pt x="1589" y="193"/>
                  </a:lnTo>
                  <a:lnTo>
                    <a:pt x="1566" y="180"/>
                  </a:lnTo>
                  <a:lnTo>
                    <a:pt x="1543" y="168"/>
                  </a:lnTo>
                  <a:lnTo>
                    <a:pt x="1518" y="159"/>
                  </a:lnTo>
                  <a:lnTo>
                    <a:pt x="1491" y="149"/>
                  </a:lnTo>
                  <a:lnTo>
                    <a:pt x="1465" y="142"/>
                  </a:lnTo>
                  <a:lnTo>
                    <a:pt x="1436" y="134"/>
                  </a:lnTo>
                  <a:lnTo>
                    <a:pt x="1405" y="128"/>
                  </a:lnTo>
                  <a:lnTo>
                    <a:pt x="1374" y="124"/>
                  </a:lnTo>
                  <a:lnTo>
                    <a:pt x="1342" y="120"/>
                  </a:lnTo>
                  <a:lnTo>
                    <a:pt x="1305" y="120"/>
                  </a:lnTo>
                  <a:lnTo>
                    <a:pt x="1273" y="120"/>
                  </a:lnTo>
                  <a:lnTo>
                    <a:pt x="1242" y="124"/>
                  </a:lnTo>
                  <a:lnTo>
                    <a:pt x="1213" y="130"/>
                  </a:lnTo>
                  <a:lnTo>
                    <a:pt x="1184" y="138"/>
                  </a:lnTo>
                  <a:lnTo>
                    <a:pt x="1159" y="147"/>
                  </a:lnTo>
                  <a:lnTo>
                    <a:pt x="1134" y="157"/>
                  </a:lnTo>
                  <a:lnTo>
                    <a:pt x="1113" y="168"/>
                  </a:lnTo>
                  <a:lnTo>
                    <a:pt x="1092" y="180"/>
                  </a:lnTo>
                  <a:lnTo>
                    <a:pt x="1113" y="182"/>
                  </a:lnTo>
                  <a:lnTo>
                    <a:pt x="1130" y="186"/>
                  </a:lnTo>
                  <a:lnTo>
                    <a:pt x="1150" y="192"/>
                  </a:lnTo>
                  <a:lnTo>
                    <a:pt x="1167" y="195"/>
                  </a:lnTo>
                  <a:lnTo>
                    <a:pt x="1198" y="209"/>
                  </a:lnTo>
                  <a:lnTo>
                    <a:pt x="1226" y="224"/>
                  </a:lnTo>
                  <a:lnTo>
                    <a:pt x="1251" y="243"/>
                  </a:lnTo>
                  <a:lnTo>
                    <a:pt x="1274" y="264"/>
                  </a:lnTo>
                  <a:lnTo>
                    <a:pt x="1296" y="286"/>
                  </a:lnTo>
                  <a:lnTo>
                    <a:pt x="1315" y="311"/>
                  </a:lnTo>
                  <a:lnTo>
                    <a:pt x="1332" y="337"/>
                  </a:lnTo>
                  <a:lnTo>
                    <a:pt x="1347" y="364"/>
                  </a:lnTo>
                  <a:lnTo>
                    <a:pt x="1363" y="391"/>
                  </a:lnTo>
                  <a:lnTo>
                    <a:pt x="1376" y="422"/>
                  </a:lnTo>
                  <a:lnTo>
                    <a:pt x="1401" y="481"/>
                  </a:lnTo>
                  <a:lnTo>
                    <a:pt x="1426" y="541"/>
                  </a:lnTo>
                  <a:lnTo>
                    <a:pt x="1436" y="564"/>
                  </a:lnTo>
                  <a:lnTo>
                    <a:pt x="1447" y="585"/>
                  </a:lnTo>
                  <a:lnTo>
                    <a:pt x="1461" y="606"/>
                  </a:lnTo>
                  <a:lnTo>
                    <a:pt x="1474" y="625"/>
                  </a:lnTo>
                  <a:lnTo>
                    <a:pt x="1488" y="645"/>
                  </a:lnTo>
                  <a:lnTo>
                    <a:pt x="1503" y="662"/>
                  </a:lnTo>
                  <a:lnTo>
                    <a:pt x="1520" y="677"/>
                  </a:lnTo>
                  <a:lnTo>
                    <a:pt x="1538" y="693"/>
                  </a:lnTo>
                  <a:lnTo>
                    <a:pt x="1555" y="708"/>
                  </a:lnTo>
                  <a:lnTo>
                    <a:pt x="1576" y="721"/>
                  </a:lnTo>
                  <a:lnTo>
                    <a:pt x="1595" y="733"/>
                  </a:lnTo>
                  <a:lnTo>
                    <a:pt x="1616" y="744"/>
                  </a:lnTo>
                  <a:lnTo>
                    <a:pt x="1639" y="754"/>
                  </a:lnTo>
                  <a:lnTo>
                    <a:pt x="1662" y="764"/>
                  </a:lnTo>
                  <a:lnTo>
                    <a:pt x="1687" y="771"/>
                  </a:lnTo>
                  <a:lnTo>
                    <a:pt x="1714" y="779"/>
                  </a:lnTo>
                  <a:lnTo>
                    <a:pt x="1703" y="785"/>
                  </a:lnTo>
                  <a:lnTo>
                    <a:pt x="1687" y="790"/>
                  </a:lnTo>
                  <a:lnTo>
                    <a:pt x="1672" y="796"/>
                  </a:lnTo>
                  <a:lnTo>
                    <a:pt x="1651" y="802"/>
                  </a:lnTo>
                  <a:lnTo>
                    <a:pt x="1630" y="806"/>
                  </a:lnTo>
                  <a:lnTo>
                    <a:pt x="1605" y="810"/>
                  </a:lnTo>
                  <a:lnTo>
                    <a:pt x="1578" y="812"/>
                  </a:lnTo>
                  <a:lnTo>
                    <a:pt x="1551" y="812"/>
                  </a:lnTo>
                  <a:lnTo>
                    <a:pt x="1518" y="812"/>
                  </a:lnTo>
                  <a:lnTo>
                    <a:pt x="1490" y="808"/>
                  </a:lnTo>
                  <a:lnTo>
                    <a:pt x="1461" y="802"/>
                  </a:lnTo>
                  <a:lnTo>
                    <a:pt x="1432" y="796"/>
                  </a:lnTo>
                  <a:lnTo>
                    <a:pt x="1405" y="787"/>
                  </a:lnTo>
                  <a:lnTo>
                    <a:pt x="1378" y="777"/>
                  </a:lnTo>
                  <a:lnTo>
                    <a:pt x="1353" y="765"/>
                  </a:lnTo>
                  <a:lnTo>
                    <a:pt x="1328" y="752"/>
                  </a:lnTo>
                  <a:lnTo>
                    <a:pt x="1303" y="737"/>
                  </a:lnTo>
                  <a:lnTo>
                    <a:pt x="1280" y="721"/>
                  </a:lnTo>
                  <a:lnTo>
                    <a:pt x="1257" y="702"/>
                  </a:lnTo>
                  <a:lnTo>
                    <a:pt x="1234" y="685"/>
                  </a:lnTo>
                  <a:lnTo>
                    <a:pt x="1188" y="643"/>
                  </a:lnTo>
                  <a:lnTo>
                    <a:pt x="1142" y="598"/>
                  </a:lnTo>
                  <a:lnTo>
                    <a:pt x="1102" y="558"/>
                  </a:lnTo>
                  <a:lnTo>
                    <a:pt x="1059" y="518"/>
                  </a:lnTo>
                  <a:lnTo>
                    <a:pt x="1036" y="501"/>
                  </a:lnTo>
                  <a:lnTo>
                    <a:pt x="1013" y="483"/>
                  </a:lnTo>
                  <a:lnTo>
                    <a:pt x="990" y="466"/>
                  </a:lnTo>
                  <a:lnTo>
                    <a:pt x="965" y="451"/>
                  </a:lnTo>
                  <a:lnTo>
                    <a:pt x="938" y="435"/>
                  </a:lnTo>
                  <a:lnTo>
                    <a:pt x="912" y="424"/>
                  </a:lnTo>
                  <a:lnTo>
                    <a:pt x="883" y="412"/>
                  </a:lnTo>
                  <a:lnTo>
                    <a:pt x="854" y="403"/>
                  </a:lnTo>
                  <a:lnTo>
                    <a:pt x="821" y="395"/>
                  </a:lnTo>
                  <a:lnTo>
                    <a:pt x="789" y="389"/>
                  </a:lnTo>
                  <a:lnTo>
                    <a:pt x="754" y="385"/>
                  </a:lnTo>
                  <a:lnTo>
                    <a:pt x="718" y="385"/>
                  </a:lnTo>
                  <a:lnTo>
                    <a:pt x="683" y="385"/>
                  </a:lnTo>
                  <a:lnTo>
                    <a:pt x="649" y="389"/>
                  </a:lnTo>
                  <a:lnTo>
                    <a:pt x="620" y="395"/>
                  </a:lnTo>
                  <a:lnTo>
                    <a:pt x="591" y="403"/>
                  </a:lnTo>
                  <a:lnTo>
                    <a:pt x="568" y="410"/>
                  </a:lnTo>
                  <a:lnTo>
                    <a:pt x="547" y="418"/>
                  </a:lnTo>
                  <a:lnTo>
                    <a:pt x="531" y="426"/>
                  </a:lnTo>
                  <a:lnTo>
                    <a:pt x="520" y="433"/>
                  </a:lnTo>
                  <a:lnTo>
                    <a:pt x="562" y="441"/>
                  </a:lnTo>
                  <a:lnTo>
                    <a:pt x="608" y="455"/>
                  </a:lnTo>
                  <a:lnTo>
                    <a:pt x="631" y="464"/>
                  </a:lnTo>
                  <a:lnTo>
                    <a:pt x="652" y="474"/>
                  </a:lnTo>
                  <a:lnTo>
                    <a:pt x="675" y="483"/>
                  </a:lnTo>
                  <a:lnTo>
                    <a:pt x="695" y="495"/>
                  </a:lnTo>
                  <a:lnTo>
                    <a:pt x="716" y="508"/>
                  </a:lnTo>
                  <a:lnTo>
                    <a:pt x="733" y="522"/>
                  </a:lnTo>
                  <a:lnTo>
                    <a:pt x="748" y="537"/>
                  </a:lnTo>
                  <a:lnTo>
                    <a:pt x="764" y="554"/>
                  </a:lnTo>
                  <a:lnTo>
                    <a:pt x="773" y="572"/>
                  </a:lnTo>
                  <a:lnTo>
                    <a:pt x="783" y="591"/>
                  </a:lnTo>
                  <a:lnTo>
                    <a:pt x="789" y="610"/>
                  </a:lnTo>
                  <a:lnTo>
                    <a:pt x="791" y="631"/>
                  </a:lnTo>
                  <a:lnTo>
                    <a:pt x="789" y="648"/>
                  </a:lnTo>
                  <a:lnTo>
                    <a:pt x="785" y="666"/>
                  </a:lnTo>
                  <a:lnTo>
                    <a:pt x="779" y="679"/>
                  </a:lnTo>
                  <a:lnTo>
                    <a:pt x="771" y="693"/>
                  </a:lnTo>
                  <a:lnTo>
                    <a:pt x="762" y="704"/>
                  </a:lnTo>
                  <a:lnTo>
                    <a:pt x="750" y="714"/>
                  </a:lnTo>
                  <a:lnTo>
                    <a:pt x="739" y="719"/>
                  </a:lnTo>
                  <a:lnTo>
                    <a:pt x="723" y="725"/>
                  </a:lnTo>
                  <a:lnTo>
                    <a:pt x="710" y="727"/>
                  </a:lnTo>
                  <a:lnTo>
                    <a:pt x="693" y="727"/>
                  </a:lnTo>
                  <a:lnTo>
                    <a:pt x="677" y="725"/>
                  </a:lnTo>
                  <a:lnTo>
                    <a:pt x="660" y="721"/>
                  </a:lnTo>
                  <a:lnTo>
                    <a:pt x="643" y="714"/>
                  </a:lnTo>
                  <a:lnTo>
                    <a:pt x="626" y="702"/>
                  </a:lnTo>
                  <a:lnTo>
                    <a:pt x="608" y="689"/>
                  </a:lnTo>
                  <a:lnTo>
                    <a:pt x="591" y="673"/>
                  </a:lnTo>
                  <a:lnTo>
                    <a:pt x="572" y="654"/>
                  </a:lnTo>
                  <a:lnTo>
                    <a:pt x="553" y="635"/>
                  </a:lnTo>
                  <a:lnTo>
                    <a:pt x="531" y="618"/>
                  </a:lnTo>
                  <a:lnTo>
                    <a:pt x="508" y="600"/>
                  </a:lnTo>
                  <a:lnTo>
                    <a:pt x="485" y="583"/>
                  </a:lnTo>
                  <a:lnTo>
                    <a:pt x="462" y="568"/>
                  </a:lnTo>
                  <a:lnTo>
                    <a:pt x="439" y="554"/>
                  </a:lnTo>
                  <a:lnTo>
                    <a:pt x="414" y="541"/>
                  </a:lnTo>
                  <a:lnTo>
                    <a:pt x="387" y="529"/>
                  </a:lnTo>
                  <a:lnTo>
                    <a:pt x="361" y="520"/>
                  </a:lnTo>
                  <a:lnTo>
                    <a:pt x="334" y="510"/>
                  </a:lnTo>
                  <a:lnTo>
                    <a:pt x="307" y="503"/>
                  </a:lnTo>
                  <a:lnTo>
                    <a:pt x="278" y="497"/>
                  </a:lnTo>
                  <a:lnTo>
                    <a:pt x="249" y="491"/>
                  </a:lnTo>
                  <a:lnTo>
                    <a:pt x="220" y="489"/>
                  </a:lnTo>
                  <a:lnTo>
                    <a:pt x="192" y="489"/>
                  </a:lnTo>
                  <a:lnTo>
                    <a:pt x="161" y="489"/>
                  </a:lnTo>
                  <a:lnTo>
                    <a:pt x="132" y="493"/>
                  </a:lnTo>
                  <a:lnTo>
                    <a:pt x="103" y="499"/>
                  </a:lnTo>
                  <a:lnTo>
                    <a:pt x="78" y="504"/>
                  </a:lnTo>
                  <a:lnTo>
                    <a:pt x="53" y="514"/>
                  </a:lnTo>
                  <a:lnTo>
                    <a:pt x="32" y="524"/>
                  </a:lnTo>
                  <a:lnTo>
                    <a:pt x="13" y="535"/>
                  </a:lnTo>
                  <a:lnTo>
                    <a:pt x="0" y="547"/>
                  </a:lnTo>
                  <a:lnTo>
                    <a:pt x="34" y="550"/>
                  </a:lnTo>
                  <a:lnTo>
                    <a:pt x="67" y="558"/>
                  </a:lnTo>
                  <a:lnTo>
                    <a:pt x="98" y="570"/>
                  </a:lnTo>
                  <a:lnTo>
                    <a:pt x="128" y="581"/>
                  </a:lnTo>
                  <a:lnTo>
                    <a:pt x="157" y="597"/>
                  </a:lnTo>
                  <a:lnTo>
                    <a:pt x="184" y="616"/>
                  </a:lnTo>
                  <a:lnTo>
                    <a:pt x="211" y="637"/>
                  </a:lnTo>
                  <a:lnTo>
                    <a:pt x="236" y="660"/>
                  </a:lnTo>
                  <a:lnTo>
                    <a:pt x="261" y="687"/>
                  </a:lnTo>
                  <a:lnTo>
                    <a:pt x="284" y="718"/>
                  </a:lnTo>
                  <a:lnTo>
                    <a:pt x="307" y="750"/>
                  </a:lnTo>
                  <a:lnTo>
                    <a:pt x="330" y="785"/>
                  </a:lnTo>
                  <a:lnTo>
                    <a:pt x="353" y="825"/>
                  </a:lnTo>
                  <a:lnTo>
                    <a:pt x="374" y="867"/>
                  </a:lnTo>
                  <a:lnTo>
                    <a:pt x="397" y="913"/>
                  </a:lnTo>
                  <a:lnTo>
                    <a:pt x="418" y="961"/>
                  </a:lnTo>
                  <a:lnTo>
                    <a:pt x="432" y="990"/>
                  </a:lnTo>
                  <a:lnTo>
                    <a:pt x="445" y="1019"/>
                  </a:lnTo>
                  <a:lnTo>
                    <a:pt x="460" y="1046"/>
                  </a:lnTo>
                  <a:lnTo>
                    <a:pt x="476" y="1073"/>
                  </a:lnTo>
                  <a:lnTo>
                    <a:pt x="493" y="1100"/>
                  </a:lnTo>
                  <a:lnTo>
                    <a:pt x="512" y="1124"/>
                  </a:lnTo>
                  <a:lnTo>
                    <a:pt x="531" y="1148"/>
                  </a:lnTo>
                  <a:lnTo>
                    <a:pt x="554" y="1169"/>
                  </a:lnTo>
                  <a:lnTo>
                    <a:pt x="578" y="1190"/>
                  </a:lnTo>
                  <a:lnTo>
                    <a:pt x="604" y="1207"/>
                  </a:lnTo>
                  <a:lnTo>
                    <a:pt x="633" y="1222"/>
                  </a:lnTo>
                  <a:lnTo>
                    <a:pt x="664" y="1236"/>
                  </a:lnTo>
                  <a:lnTo>
                    <a:pt x="698" y="1247"/>
                  </a:lnTo>
                  <a:lnTo>
                    <a:pt x="735" y="1255"/>
                  </a:lnTo>
                  <a:lnTo>
                    <a:pt x="775" y="1261"/>
                  </a:lnTo>
                  <a:lnTo>
                    <a:pt x="818" y="1263"/>
                  </a:lnTo>
                  <a:lnTo>
                    <a:pt x="860" y="1263"/>
                  </a:lnTo>
                  <a:lnTo>
                    <a:pt x="906" y="1257"/>
                  </a:lnTo>
                  <a:lnTo>
                    <a:pt x="954" y="1253"/>
                  </a:lnTo>
                  <a:lnTo>
                    <a:pt x="1000" y="1249"/>
                  </a:lnTo>
                  <a:lnTo>
                    <a:pt x="1025" y="1249"/>
                  </a:lnTo>
                  <a:lnTo>
                    <a:pt x="1048" y="1251"/>
                  </a:lnTo>
                  <a:lnTo>
                    <a:pt x="1071" y="1253"/>
                  </a:lnTo>
                  <a:lnTo>
                    <a:pt x="1092" y="1257"/>
                  </a:lnTo>
                  <a:lnTo>
                    <a:pt x="1113" y="1265"/>
                  </a:lnTo>
                  <a:lnTo>
                    <a:pt x="1134" y="1274"/>
                  </a:lnTo>
                  <a:lnTo>
                    <a:pt x="1154" y="1286"/>
                  </a:lnTo>
                  <a:lnTo>
                    <a:pt x="1171" y="1299"/>
                  </a:lnTo>
                  <a:lnTo>
                    <a:pt x="1184" y="1316"/>
                  </a:lnTo>
                  <a:lnTo>
                    <a:pt x="1198" y="1332"/>
                  </a:lnTo>
                  <a:lnTo>
                    <a:pt x="1207" y="1349"/>
                  </a:lnTo>
                  <a:lnTo>
                    <a:pt x="1215" y="1366"/>
                  </a:lnTo>
                  <a:lnTo>
                    <a:pt x="1223" y="1384"/>
                  </a:lnTo>
                  <a:lnTo>
                    <a:pt x="1228" y="1401"/>
                  </a:lnTo>
                  <a:lnTo>
                    <a:pt x="1232" y="1418"/>
                  </a:lnTo>
                  <a:lnTo>
                    <a:pt x="1236" y="1435"/>
                  </a:lnTo>
                  <a:lnTo>
                    <a:pt x="1242" y="1472"/>
                  </a:lnTo>
                  <a:lnTo>
                    <a:pt x="1248" y="1508"/>
                  </a:lnTo>
                  <a:lnTo>
                    <a:pt x="1250" y="1526"/>
                  </a:lnTo>
                  <a:lnTo>
                    <a:pt x="1255" y="1543"/>
                  </a:lnTo>
                  <a:lnTo>
                    <a:pt x="1259" y="1560"/>
                  </a:lnTo>
                  <a:lnTo>
                    <a:pt x="1267" y="1578"/>
                  </a:lnTo>
                  <a:lnTo>
                    <a:pt x="1276" y="1597"/>
                  </a:lnTo>
                  <a:lnTo>
                    <a:pt x="1288" y="1616"/>
                  </a:lnTo>
                  <a:lnTo>
                    <a:pt x="1299" y="1633"/>
                  </a:lnTo>
                  <a:lnTo>
                    <a:pt x="1313" y="1649"/>
                  </a:lnTo>
                  <a:lnTo>
                    <a:pt x="1328" y="1664"/>
                  </a:lnTo>
                  <a:lnTo>
                    <a:pt x="1346" y="1677"/>
                  </a:lnTo>
                  <a:lnTo>
                    <a:pt x="1365" y="1691"/>
                  </a:lnTo>
                  <a:lnTo>
                    <a:pt x="1386" y="1702"/>
                  </a:lnTo>
                  <a:lnTo>
                    <a:pt x="1407" y="1712"/>
                  </a:lnTo>
                  <a:lnTo>
                    <a:pt x="1432" y="1721"/>
                  </a:lnTo>
                  <a:lnTo>
                    <a:pt x="1457" y="1729"/>
                  </a:lnTo>
                  <a:lnTo>
                    <a:pt x="1486" y="1737"/>
                  </a:lnTo>
                  <a:lnTo>
                    <a:pt x="1514" y="1743"/>
                  </a:lnTo>
                  <a:lnTo>
                    <a:pt x="1547" y="1746"/>
                  </a:lnTo>
                  <a:lnTo>
                    <a:pt x="1580" y="1750"/>
                  </a:lnTo>
                  <a:lnTo>
                    <a:pt x="1616" y="1754"/>
                  </a:lnTo>
                  <a:lnTo>
                    <a:pt x="1601" y="1766"/>
                  </a:lnTo>
                  <a:lnTo>
                    <a:pt x="1584" y="1777"/>
                  </a:lnTo>
                  <a:lnTo>
                    <a:pt x="1564" y="1787"/>
                  </a:lnTo>
                  <a:lnTo>
                    <a:pt x="1545" y="1794"/>
                  </a:lnTo>
                  <a:lnTo>
                    <a:pt x="1524" y="1802"/>
                  </a:lnTo>
                  <a:lnTo>
                    <a:pt x="1503" y="1808"/>
                  </a:lnTo>
                  <a:lnTo>
                    <a:pt x="1480" y="1814"/>
                  </a:lnTo>
                  <a:lnTo>
                    <a:pt x="1457" y="1817"/>
                  </a:lnTo>
                  <a:lnTo>
                    <a:pt x="1434" y="1821"/>
                  </a:lnTo>
                  <a:lnTo>
                    <a:pt x="1409" y="1823"/>
                  </a:lnTo>
                  <a:lnTo>
                    <a:pt x="1384" y="1823"/>
                  </a:lnTo>
                  <a:lnTo>
                    <a:pt x="1359" y="1823"/>
                  </a:lnTo>
                  <a:lnTo>
                    <a:pt x="1309" y="1821"/>
                  </a:lnTo>
                  <a:lnTo>
                    <a:pt x="1257" y="1816"/>
                  </a:lnTo>
                  <a:lnTo>
                    <a:pt x="1207" y="1806"/>
                  </a:lnTo>
                  <a:lnTo>
                    <a:pt x="1157" y="1793"/>
                  </a:lnTo>
                  <a:lnTo>
                    <a:pt x="1109" y="1777"/>
                  </a:lnTo>
                  <a:lnTo>
                    <a:pt x="1063" y="1760"/>
                  </a:lnTo>
                  <a:lnTo>
                    <a:pt x="1021" y="1739"/>
                  </a:lnTo>
                  <a:lnTo>
                    <a:pt x="983" y="1718"/>
                  </a:lnTo>
                  <a:lnTo>
                    <a:pt x="965" y="1706"/>
                  </a:lnTo>
                  <a:lnTo>
                    <a:pt x="950" y="1693"/>
                  </a:lnTo>
                  <a:lnTo>
                    <a:pt x="935" y="1679"/>
                  </a:lnTo>
                  <a:lnTo>
                    <a:pt x="921" y="1668"/>
                  </a:lnTo>
                  <a:lnTo>
                    <a:pt x="923" y="1700"/>
                  </a:lnTo>
                  <a:lnTo>
                    <a:pt x="927" y="1733"/>
                  </a:lnTo>
                  <a:lnTo>
                    <a:pt x="933" y="1766"/>
                  </a:lnTo>
                  <a:lnTo>
                    <a:pt x="940" y="1798"/>
                  </a:lnTo>
                  <a:lnTo>
                    <a:pt x="948" y="1829"/>
                  </a:lnTo>
                  <a:lnTo>
                    <a:pt x="960" y="1860"/>
                  </a:lnTo>
                  <a:lnTo>
                    <a:pt x="971" y="1890"/>
                  </a:lnTo>
                  <a:lnTo>
                    <a:pt x="985" y="1919"/>
                  </a:lnTo>
                  <a:lnTo>
                    <a:pt x="998" y="1948"/>
                  </a:lnTo>
                  <a:lnTo>
                    <a:pt x="1015" y="1975"/>
                  </a:lnTo>
                  <a:lnTo>
                    <a:pt x="1033" y="2002"/>
                  </a:lnTo>
                  <a:lnTo>
                    <a:pt x="1052" y="2027"/>
                  </a:lnTo>
                  <a:lnTo>
                    <a:pt x="1073" y="2052"/>
                  </a:lnTo>
                  <a:lnTo>
                    <a:pt x="1096" y="2075"/>
                  </a:lnTo>
                  <a:lnTo>
                    <a:pt x="1121" y="2096"/>
                  </a:lnTo>
                  <a:lnTo>
                    <a:pt x="1146" y="2117"/>
                  </a:lnTo>
                  <a:lnTo>
                    <a:pt x="1173" y="2136"/>
                  </a:lnTo>
                  <a:lnTo>
                    <a:pt x="1202" y="2153"/>
                  </a:lnTo>
                  <a:lnTo>
                    <a:pt x="1232" y="2169"/>
                  </a:lnTo>
                  <a:lnTo>
                    <a:pt x="1265" y="2182"/>
                  </a:lnTo>
                  <a:lnTo>
                    <a:pt x="1298" y="2196"/>
                  </a:lnTo>
                  <a:lnTo>
                    <a:pt x="1334" y="2205"/>
                  </a:lnTo>
                  <a:lnTo>
                    <a:pt x="1370" y="2215"/>
                  </a:lnTo>
                  <a:lnTo>
                    <a:pt x="1409" y="2221"/>
                  </a:lnTo>
                  <a:lnTo>
                    <a:pt x="1447" y="2224"/>
                  </a:lnTo>
                  <a:lnTo>
                    <a:pt x="1490" y="2226"/>
                  </a:lnTo>
                  <a:lnTo>
                    <a:pt x="1534" y="2226"/>
                  </a:lnTo>
                  <a:lnTo>
                    <a:pt x="1578" y="2224"/>
                  </a:lnTo>
                  <a:lnTo>
                    <a:pt x="1624" y="2219"/>
                  </a:lnTo>
                  <a:lnTo>
                    <a:pt x="1672" y="2213"/>
                  </a:lnTo>
                  <a:lnTo>
                    <a:pt x="1722" y="2201"/>
                  </a:lnTo>
                  <a:lnTo>
                    <a:pt x="1772" y="2190"/>
                  </a:lnTo>
                  <a:lnTo>
                    <a:pt x="1808" y="2182"/>
                  </a:lnTo>
                  <a:lnTo>
                    <a:pt x="1839" y="2178"/>
                  </a:lnTo>
                  <a:lnTo>
                    <a:pt x="1854" y="2178"/>
                  </a:lnTo>
                  <a:lnTo>
                    <a:pt x="1870" y="2180"/>
                  </a:lnTo>
                  <a:lnTo>
                    <a:pt x="1883" y="2182"/>
                  </a:lnTo>
                  <a:lnTo>
                    <a:pt x="1897" y="2186"/>
                  </a:lnTo>
                  <a:lnTo>
                    <a:pt x="1908" y="2192"/>
                  </a:lnTo>
                  <a:lnTo>
                    <a:pt x="1920" y="2199"/>
                  </a:lnTo>
                  <a:lnTo>
                    <a:pt x="1931" y="2207"/>
                  </a:lnTo>
                  <a:lnTo>
                    <a:pt x="1941" y="2217"/>
                  </a:lnTo>
                  <a:lnTo>
                    <a:pt x="1950" y="2228"/>
                  </a:lnTo>
                  <a:lnTo>
                    <a:pt x="1960" y="2244"/>
                  </a:lnTo>
                  <a:lnTo>
                    <a:pt x="1968" y="2259"/>
                  </a:lnTo>
                  <a:lnTo>
                    <a:pt x="1975" y="2276"/>
                  </a:lnTo>
                  <a:lnTo>
                    <a:pt x="1985" y="2299"/>
                  </a:lnTo>
                  <a:lnTo>
                    <a:pt x="1996" y="2320"/>
                  </a:lnTo>
                  <a:lnTo>
                    <a:pt x="2010" y="2340"/>
                  </a:lnTo>
                  <a:lnTo>
                    <a:pt x="2025" y="2357"/>
                  </a:lnTo>
                  <a:lnTo>
                    <a:pt x="2041" y="2370"/>
                  </a:lnTo>
                  <a:lnTo>
                    <a:pt x="2058" y="2384"/>
                  </a:lnTo>
                  <a:lnTo>
                    <a:pt x="2075" y="2393"/>
                  </a:lnTo>
                  <a:lnTo>
                    <a:pt x="2094" y="2403"/>
                  </a:lnTo>
                  <a:lnTo>
                    <a:pt x="2114" y="2409"/>
                  </a:lnTo>
                  <a:lnTo>
                    <a:pt x="2133" y="2414"/>
                  </a:lnTo>
                  <a:lnTo>
                    <a:pt x="2154" y="2418"/>
                  </a:lnTo>
                  <a:lnTo>
                    <a:pt x="2175" y="2420"/>
                  </a:lnTo>
                  <a:lnTo>
                    <a:pt x="2196" y="2420"/>
                  </a:lnTo>
                  <a:lnTo>
                    <a:pt x="2217" y="2420"/>
                  </a:lnTo>
                  <a:lnTo>
                    <a:pt x="2238" y="2420"/>
                  </a:lnTo>
                  <a:lnTo>
                    <a:pt x="2259" y="2418"/>
                  </a:lnTo>
                  <a:lnTo>
                    <a:pt x="2307" y="2413"/>
                  </a:lnTo>
                  <a:lnTo>
                    <a:pt x="2354" y="2409"/>
                  </a:lnTo>
                  <a:lnTo>
                    <a:pt x="2396" y="2409"/>
                  </a:lnTo>
                  <a:lnTo>
                    <a:pt x="2438" y="2411"/>
                  </a:lnTo>
                  <a:lnTo>
                    <a:pt x="2476" y="2413"/>
                  </a:lnTo>
                  <a:lnTo>
                    <a:pt x="2515" y="2418"/>
                  </a:lnTo>
                  <a:lnTo>
                    <a:pt x="2549" y="2428"/>
                  </a:lnTo>
                  <a:lnTo>
                    <a:pt x="2584" y="2438"/>
                  </a:lnTo>
                  <a:lnTo>
                    <a:pt x="2618" y="2451"/>
                  </a:lnTo>
                  <a:lnTo>
                    <a:pt x="2649" y="2466"/>
                  </a:lnTo>
                  <a:lnTo>
                    <a:pt x="2680" y="2485"/>
                  </a:lnTo>
                  <a:lnTo>
                    <a:pt x="2711" y="2505"/>
                  </a:lnTo>
                  <a:lnTo>
                    <a:pt x="2739" y="2530"/>
                  </a:lnTo>
                  <a:lnTo>
                    <a:pt x="2768" y="2555"/>
                  </a:lnTo>
                  <a:lnTo>
                    <a:pt x="2797" y="2585"/>
                  </a:lnTo>
                  <a:lnTo>
                    <a:pt x="2826" y="2616"/>
                  </a:lnTo>
                  <a:lnTo>
                    <a:pt x="2828" y="2589"/>
                  </a:lnTo>
                  <a:lnTo>
                    <a:pt x="2830" y="2562"/>
                  </a:lnTo>
                  <a:lnTo>
                    <a:pt x="2828" y="2537"/>
                  </a:lnTo>
                  <a:lnTo>
                    <a:pt x="2828" y="2510"/>
                  </a:lnTo>
                  <a:lnTo>
                    <a:pt x="2824" y="2487"/>
                  </a:lnTo>
                  <a:lnTo>
                    <a:pt x="2820" y="2462"/>
                  </a:lnTo>
                  <a:lnTo>
                    <a:pt x="2816" y="2439"/>
                  </a:lnTo>
                  <a:lnTo>
                    <a:pt x="2809" y="2416"/>
                  </a:lnTo>
                  <a:lnTo>
                    <a:pt x="2803" y="2395"/>
                  </a:lnTo>
                  <a:lnTo>
                    <a:pt x="2795" y="2374"/>
                  </a:lnTo>
                  <a:lnTo>
                    <a:pt x="2786" y="2353"/>
                  </a:lnTo>
                  <a:lnTo>
                    <a:pt x="2776" y="2334"/>
                  </a:lnTo>
                  <a:lnTo>
                    <a:pt x="2755" y="2295"/>
                  </a:lnTo>
                  <a:lnTo>
                    <a:pt x="2732" y="2261"/>
                  </a:lnTo>
                  <a:lnTo>
                    <a:pt x="2707" y="2226"/>
                  </a:lnTo>
                  <a:lnTo>
                    <a:pt x="2680" y="2198"/>
                  </a:lnTo>
                  <a:lnTo>
                    <a:pt x="2651" y="2169"/>
                  </a:lnTo>
                  <a:lnTo>
                    <a:pt x="2622" y="2144"/>
                  </a:lnTo>
                  <a:lnTo>
                    <a:pt x="2594" y="2119"/>
                  </a:lnTo>
                  <a:lnTo>
                    <a:pt x="2567" y="2098"/>
                  </a:lnTo>
                  <a:lnTo>
                    <a:pt x="2540" y="2080"/>
                  </a:lnTo>
                  <a:lnTo>
                    <a:pt x="2513" y="2063"/>
                  </a:lnTo>
                  <a:lnTo>
                    <a:pt x="2490" y="2048"/>
                  </a:lnTo>
                  <a:lnTo>
                    <a:pt x="2471" y="2032"/>
                  </a:lnTo>
                  <a:lnTo>
                    <a:pt x="2453" y="2019"/>
                  </a:lnTo>
                  <a:lnTo>
                    <a:pt x="2438" y="2004"/>
                  </a:lnTo>
                  <a:lnTo>
                    <a:pt x="2425" y="1988"/>
                  </a:lnTo>
                  <a:lnTo>
                    <a:pt x="2413" y="1973"/>
                  </a:lnTo>
                  <a:lnTo>
                    <a:pt x="2403" y="1960"/>
                  </a:lnTo>
                  <a:lnTo>
                    <a:pt x="2396" y="1944"/>
                  </a:lnTo>
                  <a:lnTo>
                    <a:pt x="2390" y="1931"/>
                  </a:lnTo>
                  <a:lnTo>
                    <a:pt x="2384" y="1915"/>
                  </a:lnTo>
                  <a:lnTo>
                    <a:pt x="2380" y="1902"/>
                  </a:lnTo>
                  <a:lnTo>
                    <a:pt x="2377" y="1888"/>
                  </a:lnTo>
                  <a:lnTo>
                    <a:pt x="2375" y="1862"/>
                  </a:lnTo>
                  <a:lnTo>
                    <a:pt x="2373" y="1837"/>
                  </a:lnTo>
                  <a:lnTo>
                    <a:pt x="2390" y="1856"/>
                  </a:lnTo>
                  <a:lnTo>
                    <a:pt x="2407" y="1873"/>
                  </a:lnTo>
                  <a:lnTo>
                    <a:pt x="2426" y="1890"/>
                  </a:lnTo>
                  <a:lnTo>
                    <a:pt x="2446" y="1906"/>
                  </a:lnTo>
                  <a:lnTo>
                    <a:pt x="2467" y="1919"/>
                  </a:lnTo>
                  <a:lnTo>
                    <a:pt x="2486" y="1931"/>
                  </a:lnTo>
                  <a:lnTo>
                    <a:pt x="2507" y="1942"/>
                  </a:lnTo>
                  <a:lnTo>
                    <a:pt x="2528" y="1954"/>
                  </a:lnTo>
                  <a:lnTo>
                    <a:pt x="2549" y="1963"/>
                  </a:lnTo>
                  <a:lnTo>
                    <a:pt x="2572" y="1971"/>
                  </a:lnTo>
                  <a:lnTo>
                    <a:pt x="2594" y="1979"/>
                  </a:lnTo>
                  <a:lnTo>
                    <a:pt x="2617" y="1986"/>
                  </a:lnTo>
                  <a:lnTo>
                    <a:pt x="2663" y="1996"/>
                  </a:lnTo>
                  <a:lnTo>
                    <a:pt x="2709" y="2004"/>
                  </a:lnTo>
                  <a:lnTo>
                    <a:pt x="2747" y="2009"/>
                  </a:lnTo>
                  <a:lnTo>
                    <a:pt x="2786" y="2017"/>
                  </a:lnTo>
                  <a:lnTo>
                    <a:pt x="2822" y="2025"/>
                  </a:lnTo>
                  <a:lnTo>
                    <a:pt x="2858" y="2032"/>
                  </a:lnTo>
                  <a:lnTo>
                    <a:pt x="2891" y="2042"/>
                  </a:lnTo>
                  <a:lnTo>
                    <a:pt x="2924" y="2052"/>
                  </a:lnTo>
                  <a:lnTo>
                    <a:pt x="2954" y="2063"/>
                  </a:lnTo>
                  <a:lnTo>
                    <a:pt x="2983" y="2075"/>
                  </a:lnTo>
                  <a:lnTo>
                    <a:pt x="3012" y="2088"/>
                  </a:lnTo>
                  <a:lnTo>
                    <a:pt x="3037" y="2102"/>
                  </a:lnTo>
                  <a:lnTo>
                    <a:pt x="3062" y="2117"/>
                  </a:lnTo>
                  <a:lnTo>
                    <a:pt x="3085" y="2134"/>
                  </a:lnTo>
                  <a:lnTo>
                    <a:pt x="3106" y="2151"/>
                  </a:lnTo>
                  <a:lnTo>
                    <a:pt x="3125" y="2169"/>
                  </a:lnTo>
                  <a:lnTo>
                    <a:pt x="3143" y="2188"/>
                  </a:lnTo>
                  <a:lnTo>
                    <a:pt x="3160" y="2209"/>
                  </a:lnTo>
                  <a:lnTo>
                    <a:pt x="3160" y="2180"/>
                  </a:lnTo>
                  <a:lnTo>
                    <a:pt x="3160" y="2151"/>
                  </a:lnTo>
                  <a:lnTo>
                    <a:pt x="3156" y="2125"/>
                  </a:lnTo>
                  <a:lnTo>
                    <a:pt x="3152" y="2100"/>
                  </a:lnTo>
                  <a:lnTo>
                    <a:pt x="3146" y="2075"/>
                  </a:lnTo>
                  <a:lnTo>
                    <a:pt x="3139" y="2052"/>
                  </a:lnTo>
                  <a:lnTo>
                    <a:pt x="3129" y="2029"/>
                  </a:lnTo>
                  <a:lnTo>
                    <a:pt x="3120" y="2008"/>
                  </a:lnTo>
                  <a:lnTo>
                    <a:pt x="3106" y="1988"/>
                  </a:lnTo>
                  <a:lnTo>
                    <a:pt x="3095" y="1969"/>
                  </a:lnTo>
                  <a:lnTo>
                    <a:pt x="3081" y="1950"/>
                  </a:lnTo>
                  <a:lnTo>
                    <a:pt x="3066" y="1933"/>
                  </a:lnTo>
                  <a:lnTo>
                    <a:pt x="3035" y="1900"/>
                  </a:lnTo>
                  <a:lnTo>
                    <a:pt x="3004" y="1871"/>
                  </a:lnTo>
                  <a:lnTo>
                    <a:pt x="2937" y="1817"/>
                  </a:lnTo>
                  <a:lnTo>
                    <a:pt x="2876" y="1769"/>
                  </a:lnTo>
                  <a:lnTo>
                    <a:pt x="2849" y="1746"/>
                  </a:lnTo>
                  <a:lnTo>
                    <a:pt x="2828" y="1721"/>
                  </a:lnTo>
                  <a:lnTo>
                    <a:pt x="2818" y="1710"/>
                  </a:lnTo>
                  <a:lnTo>
                    <a:pt x="2810" y="1698"/>
                  </a:lnTo>
                  <a:lnTo>
                    <a:pt x="2803" y="1685"/>
                  </a:lnTo>
                  <a:lnTo>
                    <a:pt x="2799" y="1673"/>
                  </a:lnTo>
                  <a:lnTo>
                    <a:pt x="2837" y="1698"/>
                  </a:lnTo>
                  <a:lnTo>
                    <a:pt x="2876" y="1718"/>
                  </a:lnTo>
                  <a:lnTo>
                    <a:pt x="2910" y="1735"/>
                  </a:lnTo>
                  <a:lnTo>
                    <a:pt x="2947" y="1746"/>
                  </a:lnTo>
                  <a:lnTo>
                    <a:pt x="2983" y="1756"/>
                  </a:lnTo>
                  <a:lnTo>
                    <a:pt x="3020" y="1760"/>
                  </a:lnTo>
                  <a:lnTo>
                    <a:pt x="3058" y="1762"/>
                  </a:lnTo>
                  <a:lnTo>
                    <a:pt x="3098" y="1760"/>
                  </a:lnTo>
                  <a:lnTo>
                    <a:pt x="3125" y="1758"/>
                  </a:lnTo>
                  <a:lnTo>
                    <a:pt x="3156" y="1752"/>
                  </a:lnTo>
                  <a:lnTo>
                    <a:pt x="3185" y="1746"/>
                  </a:lnTo>
                  <a:lnTo>
                    <a:pt x="3216" y="1739"/>
                  </a:lnTo>
                  <a:lnTo>
                    <a:pt x="3244" y="1733"/>
                  </a:lnTo>
                  <a:lnTo>
                    <a:pt x="3275" y="1727"/>
                  </a:lnTo>
                  <a:lnTo>
                    <a:pt x="3306" y="1723"/>
                  </a:lnTo>
                  <a:lnTo>
                    <a:pt x="3337" y="1721"/>
                  </a:lnTo>
                  <a:lnTo>
                    <a:pt x="3367" y="1721"/>
                  </a:lnTo>
                  <a:lnTo>
                    <a:pt x="3396" y="1725"/>
                  </a:lnTo>
                  <a:lnTo>
                    <a:pt x="3411" y="1729"/>
                  </a:lnTo>
                  <a:lnTo>
                    <a:pt x="3427" y="1735"/>
                  </a:lnTo>
                  <a:lnTo>
                    <a:pt x="3440" y="1741"/>
                  </a:lnTo>
                  <a:lnTo>
                    <a:pt x="3456" y="1746"/>
                  </a:lnTo>
                  <a:lnTo>
                    <a:pt x="3469" y="1756"/>
                  </a:lnTo>
                  <a:lnTo>
                    <a:pt x="3484" y="1766"/>
                  </a:lnTo>
                  <a:lnTo>
                    <a:pt x="3498" y="1777"/>
                  </a:lnTo>
                  <a:lnTo>
                    <a:pt x="3511" y="1791"/>
                  </a:lnTo>
                  <a:lnTo>
                    <a:pt x="3525" y="1806"/>
                  </a:lnTo>
                  <a:lnTo>
                    <a:pt x="3538" y="1823"/>
                  </a:lnTo>
                  <a:lnTo>
                    <a:pt x="3552" y="1840"/>
                  </a:lnTo>
                  <a:lnTo>
                    <a:pt x="3563" y="1862"/>
                  </a:lnTo>
                  <a:lnTo>
                    <a:pt x="3596" y="1842"/>
                  </a:lnTo>
                  <a:lnTo>
                    <a:pt x="3630" y="1827"/>
                  </a:lnTo>
                  <a:lnTo>
                    <a:pt x="3665" y="1814"/>
                  </a:lnTo>
                  <a:lnTo>
                    <a:pt x="3699" y="1804"/>
                  </a:lnTo>
                  <a:lnTo>
                    <a:pt x="3736" y="1798"/>
                  </a:lnTo>
                  <a:lnTo>
                    <a:pt x="3772" y="1794"/>
                  </a:lnTo>
                  <a:lnTo>
                    <a:pt x="3809" y="1794"/>
                  </a:lnTo>
                  <a:lnTo>
                    <a:pt x="3843" y="1796"/>
                  </a:lnTo>
                  <a:lnTo>
                    <a:pt x="3880" y="1800"/>
                  </a:lnTo>
                  <a:lnTo>
                    <a:pt x="3916" y="1808"/>
                  </a:lnTo>
                  <a:lnTo>
                    <a:pt x="3951" y="1816"/>
                  </a:lnTo>
                  <a:lnTo>
                    <a:pt x="3986" y="1827"/>
                  </a:lnTo>
                  <a:lnTo>
                    <a:pt x="4018" y="1839"/>
                  </a:lnTo>
                  <a:lnTo>
                    <a:pt x="4051" y="1854"/>
                  </a:lnTo>
                  <a:lnTo>
                    <a:pt x="4080" y="1869"/>
                  </a:lnTo>
                  <a:lnTo>
                    <a:pt x="4110" y="1887"/>
                  </a:lnTo>
                  <a:close/>
                  <a:moveTo>
                    <a:pt x="2246" y="1449"/>
                  </a:moveTo>
                  <a:lnTo>
                    <a:pt x="1862" y="1449"/>
                  </a:lnTo>
                  <a:lnTo>
                    <a:pt x="1862" y="1063"/>
                  </a:lnTo>
                  <a:lnTo>
                    <a:pt x="2246" y="1063"/>
                  </a:lnTo>
                  <a:lnTo>
                    <a:pt x="2246" y="1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3703195807"/>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lide 3">
    <p:spTree>
      <p:nvGrpSpPr>
        <p:cNvPr id="1" name=""/>
        <p:cNvGrpSpPr/>
        <p:nvPr/>
      </p:nvGrpSpPr>
      <p:grpSpPr>
        <a:xfrm>
          <a:off x="0" y="0"/>
          <a:ext cx="0" cy="0"/>
          <a:chOff x="0" y="0"/>
          <a:chExt cx="0" cy="0"/>
        </a:xfrm>
      </p:grpSpPr>
      <p:pic>
        <p:nvPicPr>
          <p:cNvPr id="25" name="Kuva 24"/>
          <p:cNvPicPr>
            <a:picLocks noChangeAspect="1"/>
          </p:cNvPicPr>
          <p:nvPr userDrawn="1"/>
        </p:nvPicPr>
        <p:blipFill rotWithShape="1">
          <a:blip r:embed="rId2" cstate="email">
            <a:extLst>
              <a:ext uri="{28A0092B-C50C-407E-A947-70E740481C1C}">
                <a14:useLocalDpi xmlns:a14="http://schemas.microsoft.com/office/drawing/2010/main" val="0"/>
              </a:ext>
            </a:extLst>
          </a:blip>
          <a:srcRect r="-6"/>
          <a:stretch/>
        </p:blipFill>
        <p:spPr bwMode="ltGray">
          <a:xfrm>
            <a:off x="338667" y="254000"/>
            <a:ext cx="11514667" cy="5905500"/>
          </a:xfrm>
          <a:prstGeom prst="rect">
            <a:avLst/>
          </a:prstGeom>
        </p:spPr>
      </p:pic>
      <p:sp>
        <p:nvSpPr>
          <p:cNvPr id="43011" name="Text Placeholder 2"/>
          <p:cNvSpPr>
            <a:spLocks noGrp="1"/>
          </p:cNvSpPr>
          <p:nvPr>
            <p:ph type="subTitle" idx="1" hasCustomPrompt="1"/>
          </p:nvPr>
        </p:nvSpPr>
        <p:spPr>
          <a:xfrm>
            <a:off x="914400" y="4267200"/>
            <a:ext cx="10363200" cy="1371600"/>
          </a:xfrm>
        </p:spPr>
        <p:txBody>
          <a:bodyPr/>
          <a:lstStyle>
            <a:lvl1pPr algn="ctr">
              <a:lnSpc>
                <a:spcPct val="90000"/>
              </a:lnSpc>
              <a:spcAft>
                <a:spcPct val="0"/>
              </a:spcAft>
              <a:defRPr b="0">
                <a:latin typeface="+mj-lt"/>
                <a:ea typeface="ＭＳ Ｐゴシック" charset="0"/>
                <a:cs typeface="Gotham Narrow Bold"/>
              </a:defRPr>
            </a:lvl1pPr>
          </a:lstStyle>
          <a:p>
            <a:pPr lvl="0"/>
            <a:r>
              <a:rPr lang="fi-FI" noProof="0" dirty="0" err="1"/>
              <a:t>Click</a:t>
            </a:r>
            <a:r>
              <a:rPr lang="fi-FI" noProof="0" dirty="0"/>
              <a:t> to </a:t>
            </a:r>
            <a:r>
              <a:rPr lang="fi-FI" noProof="0" dirty="0" err="1"/>
              <a:t>add</a:t>
            </a:r>
            <a:r>
              <a:rPr lang="fi-FI" noProof="0" dirty="0"/>
              <a:t> </a:t>
            </a:r>
            <a:r>
              <a:rPr lang="fi-FI" noProof="0" dirty="0" err="1"/>
              <a:t>subtitle</a:t>
            </a:r>
            <a:endParaRPr lang="fi-FI" noProof="0" dirty="0"/>
          </a:p>
        </p:txBody>
      </p:sp>
      <p:sp>
        <p:nvSpPr>
          <p:cNvPr id="13" name="Title Placeholder 1"/>
          <p:cNvSpPr>
            <a:spLocks noGrp="1"/>
          </p:cNvSpPr>
          <p:nvPr>
            <p:ph type="ctrTitle" hasCustomPrompt="1"/>
          </p:nvPr>
        </p:nvSpPr>
        <p:spPr>
          <a:xfrm>
            <a:off x="914400" y="2708920"/>
            <a:ext cx="10363200" cy="1296144"/>
          </a:xfrm>
        </p:spPr>
        <p:txBody>
          <a:bodyPr anchor="ctr" anchorCtr="0"/>
          <a:lstStyle>
            <a:lvl1pPr algn="ctr">
              <a:lnSpc>
                <a:spcPct val="70000"/>
              </a:lnSpc>
              <a:defRPr sz="4800">
                <a:latin typeface="+mj-lt"/>
                <a:ea typeface="ＭＳ Ｐゴシック" charset="0"/>
                <a:cs typeface="Gotham Narrow Bold"/>
              </a:defRPr>
            </a:lvl1pPr>
          </a:lstStyle>
          <a:p>
            <a:pPr lvl="0"/>
            <a:r>
              <a:rPr lang="fi-FI" noProof="0" dirty="0"/>
              <a:t>CLICK TO ADD TITLE</a:t>
            </a:r>
          </a:p>
        </p:txBody>
      </p:sp>
      <p:sp>
        <p:nvSpPr>
          <p:cNvPr id="2" name="Päivämäärän paikkamerkki 1"/>
          <p:cNvSpPr>
            <a:spLocks noGrp="1"/>
          </p:cNvSpPr>
          <p:nvPr>
            <p:ph type="dt" sz="half" idx="10"/>
          </p:nvPr>
        </p:nvSpPr>
        <p:spPr/>
        <p:txBody>
          <a:bodyPr/>
          <a:lstStyle/>
          <a:p>
            <a:pPr>
              <a:defRPr/>
            </a:pPr>
            <a:fld id="{8FC139DF-555F-4884-A52D-5104D268AD44}" type="datetime1">
              <a:rPr lang="en-GB" smtClean="0"/>
              <a:t>22/08/2025</a:t>
            </a:fld>
            <a:endParaRPr lang="fi-FI" dirty="0"/>
          </a:p>
        </p:txBody>
      </p:sp>
      <p:sp>
        <p:nvSpPr>
          <p:cNvPr id="6" name="Alatunnisteen paikkamerkki 5"/>
          <p:cNvSpPr>
            <a:spLocks noGrp="1"/>
          </p:cNvSpPr>
          <p:nvPr>
            <p:ph type="ftr" sz="quarter" idx="11"/>
          </p:nvPr>
        </p:nvSpPr>
        <p:spPr/>
        <p:txBody>
          <a:bodyPr/>
          <a:lstStyle/>
          <a:p>
            <a:r>
              <a:rPr lang="fi-FI"/>
              <a:t>Presentation Name / Firstname Lastname</a:t>
            </a:r>
            <a:endParaRPr lang="fi-FI" dirty="0"/>
          </a:p>
        </p:txBody>
      </p:sp>
      <p:sp>
        <p:nvSpPr>
          <p:cNvPr id="7" name="Dian numeron paikkamerkki 6"/>
          <p:cNvSpPr>
            <a:spLocks noGrp="1"/>
          </p:cNvSpPr>
          <p:nvPr>
            <p:ph type="sldNum" sz="quarter" idx="12"/>
          </p:nvPr>
        </p:nvSpPr>
        <p:spPr/>
        <p:txBody>
          <a:bodyPr/>
          <a:lstStyle/>
          <a:p>
            <a:pPr>
              <a:defRPr/>
            </a:pPr>
            <a:fld id="{4669315E-5A66-CF44-AE5D-C333B2F730C4}" type="slidenum">
              <a:rPr lang="en-GB" smtClean="0"/>
              <a:pPr>
                <a:defRPr/>
              </a:pPr>
              <a:t>‹#›</a:t>
            </a:fld>
            <a:endParaRPr lang="en-GB" dirty="0"/>
          </a:p>
        </p:txBody>
      </p:sp>
      <p:grpSp>
        <p:nvGrpSpPr>
          <p:cNvPr id="12" name="Ryhmä 11"/>
          <p:cNvGrpSpPr/>
          <p:nvPr userDrawn="1"/>
        </p:nvGrpSpPr>
        <p:grpSpPr bwMode="black">
          <a:xfrm>
            <a:off x="347250" y="260248"/>
            <a:ext cx="2491200" cy="2334818"/>
            <a:chOff x="1311275" y="373063"/>
            <a:chExt cx="6524625" cy="6115050"/>
          </a:xfrm>
          <a:solidFill>
            <a:srgbClr val="00A39A"/>
          </a:solidFill>
        </p:grpSpPr>
        <p:sp>
          <p:nvSpPr>
            <p:cNvPr id="14" name="Rectangle 5"/>
            <p:cNvSpPr>
              <a:spLocks noChangeArrowheads="1"/>
            </p:cNvSpPr>
            <p:nvPr userDrawn="1"/>
          </p:nvSpPr>
          <p:spPr bwMode="black">
            <a:xfrm>
              <a:off x="4267200" y="5875338"/>
              <a:ext cx="609600" cy="612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Rectangle 6"/>
            <p:cNvSpPr>
              <a:spLocks noChangeArrowheads="1"/>
            </p:cNvSpPr>
            <p:nvPr userDrawn="1"/>
          </p:nvSpPr>
          <p:spPr bwMode="black">
            <a:xfrm>
              <a:off x="4267200" y="373063"/>
              <a:ext cx="609600" cy="609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7"/>
            <p:cNvSpPr>
              <a:spLocks noEditPoints="1"/>
            </p:cNvSpPr>
            <p:nvPr userDrawn="1"/>
          </p:nvSpPr>
          <p:spPr bwMode="black">
            <a:xfrm>
              <a:off x="1311275" y="1436688"/>
              <a:ext cx="6524625" cy="4152900"/>
            </a:xfrm>
            <a:custGeom>
              <a:avLst/>
              <a:gdLst>
                <a:gd name="T0" fmla="*/ 3947 w 4110"/>
                <a:gd name="T1" fmla="*/ 1670 h 2616"/>
                <a:gd name="T2" fmla="*/ 3459 w 4110"/>
                <a:gd name="T3" fmla="*/ 1403 h 2616"/>
                <a:gd name="T4" fmla="*/ 3294 w 4110"/>
                <a:gd name="T5" fmla="*/ 1199 h 2616"/>
                <a:gd name="T6" fmla="*/ 3062 w 4110"/>
                <a:gd name="T7" fmla="*/ 1048 h 2616"/>
                <a:gd name="T8" fmla="*/ 2897 w 4110"/>
                <a:gd name="T9" fmla="*/ 789 h 2616"/>
                <a:gd name="T10" fmla="*/ 2734 w 4110"/>
                <a:gd name="T11" fmla="*/ 314 h 2616"/>
                <a:gd name="T12" fmla="*/ 2417 w 4110"/>
                <a:gd name="T13" fmla="*/ 63 h 2616"/>
                <a:gd name="T14" fmla="*/ 2077 w 4110"/>
                <a:gd name="T15" fmla="*/ 19 h 2616"/>
                <a:gd name="T16" fmla="*/ 2204 w 4110"/>
                <a:gd name="T17" fmla="*/ 197 h 2616"/>
                <a:gd name="T18" fmla="*/ 2175 w 4110"/>
                <a:gd name="T19" fmla="*/ 357 h 2616"/>
                <a:gd name="T20" fmla="*/ 2041 w 4110"/>
                <a:gd name="T21" fmla="*/ 433 h 2616"/>
                <a:gd name="T22" fmla="*/ 1818 w 4110"/>
                <a:gd name="T23" fmla="*/ 362 h 2616"/>
                <a:gd name="T24" fmla="*/ 1518 w 4110"/>
                <a:gd name="T25" fmla="*/ 159 h 2616"/>
                <a:gd name="T26" fmla="*/ 1213 w 4110"/>
                <a:gd name="T27" fmla="*/ 130 h 2616"/>
                <a:gd name="T28" fmla="*/ 1198 w 4110"/>
                <a:gd name="T29" fmla="*/ 209 h 2616"/>
                <a:gd name="T30" fmla="*/ 1401 w 4110"/>
                <a:gd name="T31" fmla="*/ 481 h 2616"/>
                <a:gd name="T32" fmla="*/ 1555 w 4110"/>
                <a:gd name="T33" fmla="*/ 708 h 2616"/>
                <a:gd name="T34" fmla="*/ 1672 w 4110"/>
                <a:gd name="T35" fmla="*/ 796 h 2616"/>
                <a:gd name="T36" fmla="*/ 1405 w 4110"/>
                <a:gd name="T37" fmla="*/ 787 h 2616"/>
                <a:gd name="T38" fmla="*/ 1102 w 4110"/>
                <a:gd name="T39" fmla="*/ 558 h 2616"/>
                <a:gd name="T40" fmla="*/ 821 w 4110"/>
                <a:gd name="T41" fmla="*/ 395 h 2616"/>
                <a:gd name="T42" fmla="*/ 531 w 4110"/>
                <a:gd name="T43" fmla="*/ 426 h 2616"/>
                <a:gd name="T44" fmla="*/ 748 w 4110"/>
                <a:gd name="T45" fmla="*/ 537 h 2616"/>
                <a:gd name="T46" fmla="*/ 762 w 4110"/>
                <a:gd name="T47" fmla="*/ 704 h 2616"/>
                <a:gd name="T48" fmla="*/ 608 w 4110"/>
                <a:gd name="T49" fmla="*/ 689 h 2616"/>
                <a:gd name="T50" fmla="*/ 387 w 4110"/>
                <a:gd name="T51" fmla="*/ 529 h 2616"/>
                <a:gd name="T52" fmla="*/ 103 w 4110"/>
                <a:gd name="T53" fmla="*/ 499 h 2616"/>
                <a:gd name="T54" fmla="*/ 157 w 4110"/>
                <a:gd name="T55" fmla="*/ 597 h 2616"/>
                <a:gd name="T56" fmla="*/ 397 w 4110"/>
                <a:gd name="T57" fmla="*/ 913 h 2616"/>
                <a:gd name="T58" fmla="*/ 578 w 4110"/>
                <a:gd name="T59" fmla="*/ 1190 h 2616"/>
                <a:gd name="T60" fmla="*/ 954 w 4110"/>
                <a:gd name="T61" fmla="*/ 1253 h 2616"/>
                <a:gd name="T62" fmla="*/ 1184 w 4110"/>
                <a:gd name="T63" fmla="*/ 1316 h 2616"/>
                <a:gd name="T64" fmla="*/ 1250 w 4110"/>
                <a:gd name="T65" fmla="*/ 1526 h 2616"/>
                <a:gd name="T66" fmla="*/ 1365 w 4110"/>
                <a:gd name="T67" fmla="*/ 1691 h 2616"/>
                <a:gd name="T68" fmla="*/ 1601 w 4110"/>
                <a:gd name="T69" fmla="*/ 1766 h 2616"/>
                <a:gd name="T70" fmla="*/ 1384 w 4110"/>
                <a:gd name="T71" fmla="*/ 1823 h 2616"/>
                <a:gd name="T72" fmla="*/ 965 w 4110"/>
                <a:gd name="T73" fmla="*/ 1706 h 2616"/>
                <a:gd name="T74" fmla="*/ 971 w 4110"/>
                <a:gd name="T75" fmla="*/ 1890 h 2616"/>
                <a:gd name="T76" fmla="*/ 1173 w 4110"/>
                <a:gd name="T77" fmla="*/ 2136 h 2616"/>
                <a:gd name="T78" fmla="*/ 1534 w 4110"/>
                <a:gd name="T79" fmla="*/ 2226 h 2616"/>
                <a:gd name="T80" fmla="*/ 1883 w 4110"/>
                <a:gd name="T81" fmla="*/ 2182 h 2616"/>
                <a:gd name="T82" fmla="*/ 1985 w 4110"/>
                <a:gd name="T83" fmla="*/ 2299 h 2616"/>
                <a:gd name="T84" fmla="*/ 2154 w 4110"/>
                <a:gd name="T85" fmla="*/ 2418 h 2616"/>
                <a:gd name="T86" fmla="*/ 2476 w 4110"/>
                <a:gd name="T87" fmla="*/ 2413 h 2616"/>
                <a:gd name="T88" fmla="*/ 2797 w 4110"/>
                <a:gd name="T89" fmla="*/ 2585 h 2616"/>
                <a:gd name="T90" fmla="*/ 2803 w 4110"/>
                <a:gd name="T91" fmla="*/ 2395 h 2616"/>
                <a:gd name="T92" fmla="*/ 2594 w 4110"/>
                <a:gd name="T93" fmla="*/ 2119 h 2616"/>
                <a:gd name="T94" fmla="*/ 2403 w 4110"/>
                <a:gd name="T95" fmla="*/ 1960 h 2616"/>
                <a:gd name="T96" fmla="*/ 2426 w 4110"/>
                <a:gd name="T97" fmla="*/ 1890 h 2616"/>
                <a:gd name="T98" fmla="*/ 2663 w 4110"/>
                <a:gd name="T99" fmla="*/ 1996 h 2616"/>
                <a:gd name="T100" fmla="*/ 3012 w 4110"/>
                <a:gd name="T101" fmla="*/ 2088 h 2616"/>
                <a:gd name="T102" fmla="*/ 3156 w 4110"/>
                <a:gd name="T103" fmla="*/ 2125 h 2616"/>
                <a:gd name="T104" fmla="*/ 3035 w 4110"/>
                <a:gd name="T105" fmla="*/ 1900 h 2616"/>
                <a:gd name="T106" fmla="*/ 2837 w 4110"/>
                <a:gd name="T107" fmla="*/ 1698 h 2616"/>
                <a:gd name="T108" fmla="*/ 3185 w 4110"/>
                <a:gd name="T109" fmla="*/ 1746 h 2616"/>
                <a:gd name="T110" fmla="*/ 3440 w 4110"/>
                <a:gd name="T111" fmla="*/ 1741 h 2616"/>
                <a:gd name="T112" fmla="*/ 3596 w 4110"/>
                <a:gd name="T113" fmla="*/ 1842 h 2616"/>
                <a:gd name="T114" fmla="*/ 3951 w 4110"/>
                <a:gd name="T115" fmla="*/ 1816 h 2616"/>
                <a:gd name="T116" fmla="*/ 2246 w 4110"/>
                <a:gd name="T117" fmla="*/ 1449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10" h="2616">
                  <a:moveTo>
                    <a:pt x="4110" y="1887"/>
                  </a:moveTo>
                  <a:lnTo>
                    <a:pt x="4095" y="1858"/>
                  </a:lnTo>
                  <a:lnTo>
                    <a:pt x="4080" y="1829"/>
                  </a:lnTo>
                  <a:lnTo>
                    <a:pt x="4062" y="1802"/>
                  </a:lnTo>
                  <a:lnTo>
                    <a:pt x="4045" y="1777"/>
                  </a:lnTo>
                  <a:lnTo>
                    <a:pt x="4028" y="1754"/>
                  </a:lnTo>
                  <a:lnTo>
                    <a:pt x="4009" y="1731"/>
                  </a:lnTo>
                  <a:lnTo>
                    <a:pt x="3989" y="1710"/>
                  </a:lnTo>
                  <a:lnTo>
                    <a:pt x="3968" y="1689"/>
                  </a:lnTo>
                  <a:lnTo>
                    <a:pt x="3947" y="1670"/>
                  </a:lnTo>
                  <a:lnTo>
                    <a:pt x="3926" y="1652"/>
                  </a:lnTo>
                  <a:lnTo>
                    <a:pt x="3903" y="1635"/>
                  </a:lnTo>
                  <a:lnTo>
                    <a:pt x="3882" y="1618"/>
                  </a:lnTo>
                  <a:lnTo>
                    <a:pt x="3834" y="1589"/>
                  </a:lnTo>
                  <a:lnTo>
                    <a:pt x="3788" y="1560"/>
                  </a:lnTo>
                  <a:lnTo>
                    <a:pt x="3690" y="1512"/>
                  </a:lnTo>
                  <a:lnTo>
                    <a:pt x="3594" y="1468"/>
                  </a:lnTo>
                  <a:lnTo>
                    <a:pt x="3548" y="1447"/>
                  </a:lnTo>
                  <a:lnTo>
                    <a:pt x="3504" y="1426"/>
                  </a:lnTo>
                  <a:lnTo>
                    <a:pt x="3459" y="1403"/>
                  </a:lnTo>
                  <a:lnTo>
                    <a:pt x="3419" y="1378"/>
                  </a:lnTo>
                  <a:lnTo>
                    <a:pt x="3402" y="1364"/>
                  </a:lnTo>
                  <a:lnTo>
                    <a:pt x="3385" y="1351"/>
                  </a:lnTo>
                  <a:lnTo>
                    <a:pt x="3369" y="1336"/>
                  </a:lnTo>
                  <a:lnTo>
                    <a:pt x="3356" y="1318"/>
                  </a:lnTo>
                  <a:lnTo>
                    <a:pt x="3342" y="1299"/>
                  </a:lnTo>
                  <a:lnTo>
                    <a:pt x="3331" y="1282"/>
                  </a:lnTo>
                  <a:lnTo>
                    <a:pt x="3319" y="1263"/>
                  </a:lnTo>
                  <a:lnTo>
                    <a:pt x="3310" y="1242"/>
                  </a:lnTo>
                  <a:lnTo>
                    <a:pt x="3294" y="1199"/>
                  </a:lnTo>
                  <a:lnTo>
                    <a:pt x="3281" y="1157"/>
                  </a:lnTo>
                  <a:lnTo>
                    <a:pt x="3271" y="1115"/>
                  </a:lnTo>
                  <a:lnTo>
                    <a:pt x="3264" y="1073"/>
                  </a:lnTo>
                  <a:lnTo>
                    <a:pt x="3223" y="1076"/>
                  </a:lnTo>
                  <a:lnTo>
                    <a:pt x="3179" y="1076"/>
                  </a:lnTo>
                  <a:lnTo>
                    <a:pt x="3156" y="1075"/>
                  </a:lnTo>
                  <a:lnTo>
                    <a:pt x="3133" y="1071"/>
                  </a:lnTo>
                  <a:lnTo>
                    <a:pt x="3110" y="1065"/>
                  </a:lnTo>
                  <a:lnTo>
                    <a:pt x="3087" y="1057"/>
                  </a:lnTo>
                  <a:lnTo>
                    <a:pt x="3062" y="1048"/>
                  </a:lnTo>
                  <a:lnTo>
                    <a:pt x="3039" y="1034"/>
                  </a:lnTo>
                  <a:lnTo>
                    <a:pt x="3018" y="1019"/>
                  </a:lnTo>
                  <a:lnTo>
                    <a:pt x="2997" y="1000"/>
                  </a:lnTo>
                  <a:lnTo>
                    <a:pt x="2976" y="979"/>
                  </a:lnTo>
                  <a:lnTo>
                    <a:pt x="2956" y="952"/>
                  </a:lnTo>
                  <a:lnTo>
                    <a:pt x="2939" y="921"/>
                  </a:lnTo>
                  <a:lnTo>
                    <a:pt x="2924" y="886"/>
                  </a:lnTo>
                  <a:lnTo>
                    <a:pt x="2912" y="856"/>
                  </a:lnTo>
                  <a:lnTo>
                    <a:pt x="2905" y="823"/>
                  </a:lnTo>
                  <a:lnTo>
                    <a:pt x="2897" y="789"/>
                  </a:lnTo>
                  <a:lnTo>
                    <a:pt x="2889" y="752"/>
                  </a:lnTo>
                  <a:lnTo>
                    <a:pt x="2874" y="675"/>
                  </a:lnTo>
                  <a:lnTo>
                    <a:pt x="2857" y="593"/>
                  </a:lnTo>
                  <a:lnTo>
                    <a:pt x="2845" y="550"/>
                  </a:lnTo>
                  <a:lnTo>
                    <a:pt x="2834" y="508"/>
                  </a:lnTo>
                  <a:lnTo>
                    <a:pt x="2816" y="464"/>
                  </a:lnTo>
                  <a:lnTo>
                    <a:pt x="2797" y="422"/>
                  </a:lnTo>
                  <a:lnTo>
                    <a:pt x="2776" y="378"/>
                  </a:lnTo>
                  <a:lnTo>
                    <a:pt x="2749" y="335"/>
                  </a:lnTo>
                  <a:lnTo>
                    <a:pt x="2734" y="314"/>
                  </a:lnTo>
                  <a:lnTo>
                    <a:pt x="2718" y="293"/>
                  </a:lnTo>
                  <a:lnTo>
                    <a:pt x="2701" y="272"/>
                  </a:lnTo>
                  <a:lnTo>
                    <a:pt x="2682" y="251"/>
                  </a:lnTo>
                  <a:lnTo>
                    <a:pt x="2647" y="216"/>
                  </a:lnTo>
                  <a:lnTo>
                    <a:pt x="2611" y="184"/>
                  </a:lnTo>
                  <a:lnTo>
                    <a:pt x="2572" y="153"/>
                  </a:lnTo>
                  <a:lnTo>
                    <a:pt x="2534" y="126"/>
                  </a:lnTo>
                  <a:lnTo>
                    <a:pt x="2496" y="101"/>
                  </a:lnTo>
                  <a:lnTo>
                    <a:pt x="2457" y="80"/>
                  </a:lnTo>
                  <a:lnTo>
                    <a:pt x="2417" y="63"/>
                  </a:lnTo>
                  <a:lnTo>
                    <a:pt x="2377" y="46"/>
                  </a:lnTo>
                  <a:lnTo>
                    <a:pt x="2336" y="32"/>
                  </a:lnTo>
                  <a:lnTo>
                    <a:pt x="2296" y="21"/>
                  </a:lnTo>
                  <a:lnTo>
                    <a:pt x="2256" y="13"/>
                  </a:lnTo>
                  <a:lnTo>
                    <a:pt x="2215" y="5"/>
                  </a:lnTo>
                  <a:lnTo>
                    <a:pt x="2175" y="1"/>
                  </a:lnTo>
                  <a:lnTo>
                    <a:pt x="2135" y="0"/>
                  </a:lnTo>
                  <a:lnTo>
                    <a:pt x="2094" y="0"/>
                  </a:lnTo>
                  <a:lnTo>
                    <a:pt x="2054" y="1"/>
                  </a:lnTo>
                  <a:lnTo>
                    <a:pt x="2077" y="19"/>
                  </a:lnTo>
                  <a:lnTo>
                    <a:pt x="2098" y="34"/>
                  </a:lnTo>
                  <a:lnTo>
                    <a:pt x="2117" y="51"/>
                  </a:lnTo>
                  <a:lnTo>
                    <a:pt x="2135" y="71"/>
                  </a:lnTo>
                  <a:lnTo>
                    <a:pt x="2150" y="88"/>
                  </a:lnTo>
                  <a:lnTo>
                    <a:pt x="2163" y="105"/>
                  </a:lnTo>
                  <a:lnTo>
                    <a:pt x="2175" y="124"/>
                  </a:lnTo>
                  <a:lnTo>
                    <a:pt x="2185" y="142"/>
                  </a:lnTo>
                  <a:lnTo>
                    <a:pt x="2192" y="161"/>
                  </a:lnTo>
                  <a:lnTo>
                    <a:pt x="2200" y="178"/>
                  </a:lnTo>
                  <a:lnTo>
                    <a:pt x="2204" y="197"/>
                  </a:lnTo>
                  <a:lnTo>
                    <a:pt x="2208" y="215"/>
                  </a:lnTo>
                  <a:lnTo>
                    <a:pt x="2210" y="232"/>
                  </a:lnTo>
                  <a:lnTo>
                    <a:pt x="2210" y="249"/>
                  </a:lnTo>
                  <a:lnTo>
                    <a:pt x="2208" y="266"/>
                  </a:lnTo>
                  <a:lnTo>
                    <a:pt x="2206" y="284"/>
                  </a:lnTo>
                  <a:lnTo>
                    <a:pt x="2202" y="299"/>
                  </a:lnTo>
                  <a:lnTo>
                    <a:pt x="2198" y="314"/>
                  </a:lnTo>
                  <a:lnTo>
                    <a:pt x="2190" y="330"/>
                  </a:lnTo>
                  <a:lnTo>
                    <a:pt x="2183" y="343"/>
                  </a:lnTo>
                  <a:lnTo>
                    <a:pt x="2175" y="357"/>
                  </a:lnTo>
                  <a:lnTo>
                    <a:pt x="2165" y="370"/>
                  </a:lnTo>
                  <a:lnTo>
                    <a:pt x="2156" y="382"/>
                  </a:lnTo>
                  <a:lnTo>
                    <a:pt x="2144" y="391"/>
                  </a:lnTo>
                  <a:lnTo>
                    <a:pt x="2131" y="401"/>
                  </a:lnTo>
                  <a:lnTo>
                    <a:pt x="2117" y="410"/>
                  </a:lnTo>
                  <a:lnTo>
                    <a:pt x="2104" y="418"/>
                  </a:lnTo>
                  <a:lnTo>
                    <a:pt x="2089" y="424"/>
                  </a:lnTo>
                  <a:lnTo>
                    <a:pt x="2073" y="428"/>
                  </a:lnTo>
                  <a:lnTo>
                    <a:pt x="2058" y="431"/>
                  </a:lnTo>
                  <a:lnTo>
                    <a:pt x="2041" y="433"/>
                  </a:lnTo>
                  <a:lnTo>
                    <a:pt x="2023" y="435"/>
                  </a:lnTo>
                  <a:lnTo>
                    <a:pt x="1998" y="433"/>
                  </a:lnTo>
                  <a:lnTo>
                    <a:pt x="1975" y="431"/>
                  </a:lnTo>
                  <a:lnTo>
                    <a:pt x="1954" y="428"/>
                  </a:lnTo>
                  <a:lnTo>
                    <a:pt x="1933" y="422"/>
                  </a:lnTo>
                  <a:lnTo>
                    <a:pt x="1912" y="414"/>
                  </a:lnTo>
                  <a:lnTo>
                    <a:pt x="1893" y="407"/>
                  </a:lnTo>
                  <a:lnTo>
                    <a:pt x="1874" y="397"/>
                  </a:lnTo>
                  <a:lnTo>
                    <a:pt x="1854" y="385"/>
                  </a:lnTo>
                  <a:lnTo>
                    <a:pt x="1818" y="362"/>
                  </a:lnTo>
                  <a:lnTo>
                    <a:pt x="1781" y="335"/>
                  </a:lnTo>
                  <a:lnTo>
                    <a:pt x="1747" y="307"/>
                  </a:lnTo>
                  <a:lnTo>
                    <a:pt x="1710" y="278"/>
                  </a:lnTo>
                  <a:lnTo>
                    <a:pt x="1672" y="247"/>
                  </a:lnTo>
                  <a:lnTo>
                    <a:pt x="1632" y="220"/>
                  </a:lnTo>
                  <a:lnTo>
                    <a:pt x="1610" y="207"/>
                  </a:lnTo>
                  <a:lnTo>
                    <a:pt x="1589" y="193"/>
                  </a:lnTo>
                  <a:lnTo>
                    <a:pt x="1566" y="180"/>
                  </a:lnTo>
                  <a:lnTo>
                    <a:pt x="1543" y="168"/>
                  </a:lnTo>
                  <a:lnTo>
                    <a:pt x="1518" y="159"/>
                  </a:lnTo>
                  <a:lnTo>
                    <a:pt x="1491" y="149"/>
                  </a:lnTo>
                  <a:lnTo>
                    <a:pt x="1465" y="142"/>
                  </a:lnTo>
                  <a:lnTo>
                    <a:pt x="1436" y="134"/>
                  </a:lnTo>
                  <a:lnTo>
                    <a:pt x="1405" y="128"/>
                  </a:lnTo>
                  <a:lnTo>
                    <a:pt x="1374" y="124"/>
                  </a:lnTo>
                  <a:lnTo>
                    <a:pt x="1342" y="120"/>
                  </a:lnTo>
                  <a:lnTo>
                    <a:pt x="1305" y="120"/>
                  </a:lnTo>
                  <a:lnTo>
                    <a:pt x="1273" y="120"/>
                  </a:lnTo>
                  <a:lnTo>
                    <a:pt x="1242" y="124"/>
                  </a:lnTo>
                  <a:lnTo>
                    <a:pt x="1213" y="130"/>
                  </a:lnTo>
                  <a:lnTo>
                    <a:pt x="1184" y="138"/>
                  </a:lnTo>
                  <a:lnTo>
                    <a:pt x="1159" y="147"/>
                  </a:lnTo>
                  <a:lnTo>
                    <a:pt x="1134" y="157"/>
                  </a:lnTo>
                  <a:lnTo>
                    <a:pt x="1113" y="168"/>
                  </a:lnTo>
                  <a:lnTo>
                    <a:pt x="1092" y="180"/>
                  </a:lnTo>
                  <a:lnTo>
                    <a:pt x="1113" y="182"/>
                  </a:lnTo>
                  <a:lnTo>
                    <a:pt x="1130" y="186"/>
                  </a:lnTo>
                  <a:lnTo>
                    <a:pt x="1150" y="192"/>
                  </a:lnTo>
                  <a:lnTo>
                    <a:pt x="1167" y="195"/>
                  </a:lnTo>
                  <a:lnTo>
                    <a:pt x="1198" y="209"/>
                  </a:lnTo>
                  <a:lnTo>
                    <a:pt x="1226" y="224"/>
                  </a:lnTo>
                  <a:lnTo>
                    <a:pt x="1251" y="243"/>
                  </a:lnTo>
                  <a:lnTo>
                    <a:pt x="1274" y="264"/>
                  </a:lnTo>
                  <a:lnTo>
                    <a:pt x="1296" y="286"/>
                  </a:lnTo>
                  <a:lnTo>
                    <a:pt x="1315" y="311"/>
                  </a:lnTo>
                  <a:lnTo>
                    <a:pt x="1332" y="337"/>
                  </a:lnTo>
                  <a:lnTo>
                    <a:pt x="1347" y="364"/>
                  </a:lnTo>
                  <a:lnTo>
                    <a:pt x="1363" y="391"/>
                  </a:lnTo>
                  <a:lnTo>
                    <a:pt x="1376" y="422"/>
                  </a:lnTo>
                  <a:lnTo>
                    <a:pt x="1401" y="481"/>
                  </a:lnTo>
                  <a:lnTo>
                    <a:pt x="1426" y="541"/>
                  </a:lnTo>
                  <a:lnTo>
                    <a:pt x="1436" y="564"/>
                  </a:lnTo>
                  <a:lnTo>
                    <a:pt x="1447" y="585"/>
                  </a:lnTo>
                  <a:lnTo>
                    <a:pt x="1461" y="606"/>
                  </a:lnTo>
                  <a:lnTo>
                    <a:pt x="1474" y="625"/>
                  </a:lnTo>
                  <a:lnTo>
                    <a:pt x="1488" y="645"/>
                  </a:lnTo>
                  <a:lnTo>
                    <a:pt x="1503" y="662"/>
                  </a:lnTo>
                  <a:lnTo>
                    <a:pt x="1520" y="677"/>
                  </a:lnTo>
                  <a:lnTo>
                    <a:pt x="1538" y="693"/>
                  </a:lnTo>
                  <a:lnTo>
                    <a:pt x="1555" y="708"/>
                  </a:lnTo>
                  <a:lnTo>
                    <a:pt x="1576" y="721"/>
                  </a:lnTo>
                  <a:lnTo>
                    <a:pt x="1595" y="733"/>
                  </a:lnTo>
                  <a:lnTo>
                    <a:pt x="1616" y="744"/>
                  </a:lnTo>
                  <a:lnTo>
                    <a:pt x="1639" y="754"/>
                  </a:lnTo>
                  <a:lnTo>
                    <a:pt x="1662" y="764"/>
                  </a:lnTo>
                  <a:lnTo>
                    <a:pt x="1687" y="771"/>
                  </a:lnTo>
                  <a:lnTo>
                    <a:pt x="1714" y="779"/>
                  </a:lnTo>
                  <a:lnTo>
                    <a:pt x="1703" y="785"/>
                  </a:lnTo>
                  <a:lnTo>
                    <a:pt x="1687" y="790"/>
                  </a:lnTo>
                  <a:lnTo>
                    <a:pt x="1672" y="796"/>
                  </a:lnTo>
                  <a:lnTo>
                    <a:pt x="1651" y="802"/>
                  </a:lnTo>
                  <a:lnTo>
                    <a:pt x="1630" y="806"/>
                  </a:lnTo>
                  <a:lnTo>
                    <a:pt x="1605" y="810"/>
                  </a:lnTo>
                  <a:lnTo>
                    <a:pt x="1578" y="812"/>
                  </a:lnTo>
                  <a:lnTo>
                    <a:pt x="1551" y="812"/>
                  </a:lnTo>
                  <a:lnTo>
                    <a:pt x="1518" y="812"/>
                  </a:lnTo>
                  <a:lnTo>
                    <a:pt x="1490" y="808"/>
                  </a:lnTo>
                  <a:lnTo>
                    <a:pt x="1461" y="802"/>
                  </a:lnTo>
                  <a:lnTo>
                    <a:pt x="1432" y="796"/>
                  </a:lnTo>
                  <a:lnTo>
                    <a:pt x="1405" y="787"/>
                  </a:lnTo>
                  <a:lnTo>
                    <a:pt x="1378" y="777"/>
                  </a:lnTo>
                  <a:lnTo>
                    <a:pt x="1353" y="765"/>
                  </a:lnTo>
                  <a:lnTo>
                    <a:pt x="1328" y="752"/>
                  </a:lnTo>
                  <a:lnTo>
                    <a:pt x="1303" y="737"/>
                  </a:lnTo>
                  <a:lnTo>
                    <a:pt x="1280" y="721"/>
                  </a:lnTo>
                  <a:lnTo>
                    <a:pt x="1257" y="702"/>
                  </a:lnTo>
                  <a:lnTo>
                    <a:pt x="1234" y="685"/>
                  </a:lnTo>
                  <a:lnTo>
                    <a:pt x="1188" y="643"/>
                  </a:lnTo>
                  <a:lnTo>
                    <a:pt x="1142" y="598"/>
                  </a:lnTo>
                  <a:lnTo>
                    <a:pt x="1102" y="558"/>
                  </a:lnTo>
                  <a:lnTo>
                    <a:pt x="1059" y="518"/>
                  </a:lnTo>
                  <a:lnTo>
                    <a:pt x="1036" y="501"/>
                  </a:lnTo>
                  <a:lnTo>
                    <a:pt x="1013" y="483"/>
                  </a:lnTo>
                  <a:lnTo>
                    <a:pt x="990" y="466"/>
                  </a:lnTo>
                  <a:lnTo>
                    <a:pt x="965" y="451"/>
                  </a:lnTo>
                  <a:lnTo>
                    <a:pt x="938" y="435"/>
                  </a:lnTo>
                  <a:lnTo>
                    <a:pt x="912" y="424"/>
                  </a:lnTo>
                  <a:lnTo>
                    <a:pt x="883" y="412"/>
                  </a:lnTo>
                  <a:lnTo>
                    <a:pt x="854" y="403"/>
                  </a:lnTo>
                  <a:lnTo>
                    <a:pt x="821" y="395"/>
                  </a:lnTo>
                  <a:lnTo>
                    <a:pt x="789" y="389"/>
                  </a:lnTo>
                  <a:lnTo>
                    <a:pt x="754" y="385"/>
                  </a:lnTo>
                  <a:lnTo>
                    <a:pt x="718" y="385"/>
                  </a:lnTo>
                  <a:lnTo>
                    <a:pt x="683" y="385"/>
                  </a:lnTo>
                  <a:lnTo>
                    <a:pt x="649" y="389"/>
                  </a:lnTo>
                  <a:lnTo>
                    <a:pt x="620" y="395"/>
                  </a:lnTo>
                  <a:lnTo>
                    <a:pt x="591" y="403"/>
                  </a:lnTo>
                  <a:lnTo>
                    <a:pt x="568" y="410"/>
                  </a:lnTo>
                  <a:lnTo>
                    <a:pt x="547" y="418"/>
                  </a:lnTo>
                  <a:lnTo>
                    <a:pt x="531" y="426"/>
                  </a:lnTo>
                  <a:lnTo>
                    <a:pt x="520" y="433"/>
                  </a:lnTo>
                  <a:lnTo>
                    <a:pt x="562" y="441"/>
                  </a:lnTo>
                  <a:lnTo>
                    <a:pt x="608" y="455"/>
                  </a:lnTo>
                  <a:lnTo>
                    <a:pt x="631" y="464"/>
                  </a:lnTo>
                  <a:lnTo>
                    <a:pt x="652" y="474"/>
                  </a:lnTo>
                  <a:lnTo>
                    <a:pt x="675" y="483"/>
                  </a:lnTo>
                  <a:lnTo>
                    <a:pt x="695" y="495"/>
                  </a:lnTo>
                  <a:lnTo>
                    <a:pt x="716" y="508"/>
                  </a:lnTo>
                  <a:lnTo>
                    <a:pt x="733" y="522"/>
                  </a:lnTo>
                  <a:lnTo>
                    <a:pt x="748" y="537"/>
                  </a:lnTo>
                  <a:lnTo>
                    <a:pt x="764" y="554"/>
                  </a:lnTo>
                  <a:lnTo>
                    <a:pt x="773" y="572"/>
                  </a:lnTo>
                  <a:lnTo>
                    <a:pt x="783" y="591"/>
                  </a:lnTo>
                  <a:lnTo>
                    <a:pt x="789" y="610"/>
                  </a:lnTo>
                  <a:lnTo>
                    <a:pt x="791" y="631"/>
                  </a:lnTo>
                  <a:lnTo>
                    <a:pt x="789" y="648"/>
                  </a:lnTo>
                  <a:lnTo>
                    <a:pt x="785" y="666"/>
                  </a:lnTo>
                  <a:lnTo>
                    <a:pt x="779" y="679"/>
                  </a:lnTo>
                  <a:lnTo>
                    <a:pt x="771" y="693"/>
                  </a:lnTo>
                  <a:lnTo>
                    <a:pt x="762" y="704"/>
                  </a:lnTo>
                  <a:lnTo>
                    <a:pt x="750" y="714"/>
                  </a:lnTo>
                  <a:lnTo>
                    <a:pt x="739" y="719"/>
                  </a:lnTo>
                  <a:lnTo>
                    <a:pt x="723" y="725"/>
                  </a:lnTo>
                  <a:lnTo>
                    <a:pt x="710" y="727"/>
                  </a:lnTo>
                  <a:lnTo>
                    <a:pt x="693" y="727"/>
                  </a:lnTo>
                  <a:lnTo>
                    <a:pt x="677" y="725"/>
                  </a:lnTo>
                  <a:lnTo>
                    <a:pt x="660" y="721"/>
                  </a:lnTo>
                  <a:lnTo>
                    <a:pt x="643" y="714"/>
                  </a:lnTo>
                  <a:lnTo>
                    <a:pt x="626" y="702"/>
                  </a:lnTo>
                  <a:lnTo>
                    <a:pt x="608" y="689"/>
                  </a:lnTo>
                  <a:lnTo>
                    <a:pt x="591" y="673"/>
                  </a:lnTo>
                  <a:lnTo>
                    <a:pt x="572" y="654"/>
                  </a:lnTo>
                  <a:lnTo>
                    <a:pt x="553" y="635"/>
                  </a:lnTo>
                  <a:lnTo>
                    <a:pt x="531" y="618"/>
                  </a:lnTo>
                  <a:lnTo>
                    <a:pt x="508" y="600"/>
                  </a:lnTo>
                  <a:lnTo>
                    <a:pt x="485" y="583"/>
                  </a:lnTo>
                  <a:lnTo>
                    <a:pt x="462" y="568"/>
                  </a:lnTo>
                  <a:lnTo>
                    <a:pt x="439" y="554"/>
                  </a:lnTo>
                  <a:lnTo>
                    <a:pt x="414" y="541"/>
                  </a:lnTo>
                  <a:lnTo>
                    <a:pt x="387" y="529"/>
                  </a:lnTo>
                  <a:lnTo>
                    <a:pt x="361" y="520"/>
                  </a:lnTo>
                  <a:lnTo>
                    <a:pt x="334" y="510"/>
                  </a:lnTo>
                  <a:lnTo>
                    <a:pt x="307" y="503"/>
                  </a:lnTo>
                  <a:lnTo>
                    <a:pt x="278" y="497"/>
                  </a:lnTo>
                  <a:lnTo>
                    <a:pt x="249" y="491"/>
                  </a:lnTo>
                  <a:lnTo>
                    <a:pt x="220" y="489"/>
                  </a:lnTo>
                  <a:lnTo>
                    <a:pt x="192" y="489"/>
                  </a:lnTo>
                  <a:lnTo>
                    <a:pt x="161" y="489"/>
                  </a:lnTo>
                  <a:lnTo>
                    <a:pt x="132" y="493"/>
                  </a:lnTo>
                  <a:lnTo>
                    <a:pt x="103" y="499"/>
                  </a:lnTo>
                  <a:lnTo>
                    <a:pt x="78" y="504"/>
                  </a:lnTo>
                  <a:lnTo>
                    <a:pt x="53" y="514"/>
                  </a:lnTo>
                  <a:lnTo>
                    <a:pt x="32" y="524"/>
                  </a:lnTo>
                  <a:lnTo>
                    <a:pt x="13" y="535"/>
                  </a:lnTo>
                  <a:lnTo>
                    <a:pt x="0" y="547"/>
                  </a:lnTo>
                  <a:lnTo>
                    <a:pt x="34" y="550"/>
                  </a:lnTo>
                  <a:lnTo>
                    <a:pt x="67" y="558"/>
                  </a:lnTo>
                  <a:lnTo>
                    <a:pt x="98" y="570"/>
                  </a:lnTo>
                  <a:lnTo>
                    <a:pt x="128" y="581"/>
                  </a:lnTo>
                  <a:lnTo>
                    <a:pt x="157" y="597"/>
                  </a:lnTo>
                  <a:lnTo>
                    <a:pt x="184" y="616"/>
                  </a:lnTo>
                  <a:lnTo>
                    <a:pt x="211" y="637"/>
                  </a:lnTo>
                  <a:lnTo>
                    <a:pt x="236" y="660"/>
                  </a:lnTo>
                  <a:lnTo>
                    <a:pt x="261" y="687"/>
                  </a:lnTo>
                  <a:lnTo>
                    <a:pt x="284" y="718"/>
                  </a:lnTo>
                  <a:lnTo>
                    <a:pt x="307" y="750"/>
                  </a:lnTo>
                  <a:lnTo>
                    <a:pt x="330" y="785"/>
                  </a:lnTo>
                  <a:lnTo>
                    <a:pt x="353" y="825"/>
                  </a:lnTo>
                  <a:lnTo>
                    <a:pt x="374" y="867"/>
                  </a:lnTo>
                  <a:lnTo>
                    <a:pt x="397" y="913"/>
                  </a:lnTo>
                  <a:lnTo>
                    <a:pt x="418" y="961"/>
                  </a:lnTo>
                  <a:lnTo>
                    <a:pt x="432" y="990"/>
                  </a:lnTo>
                  <a:lnTo>
                    <a:pt x="445" y="1019"/>
                  </a:lnTo>
                  <a:lnTo>
                    <a:pt x="460" y="1046"/>
                  </a:lnTo>
                  <a:lnTo>
                    <a:pt x="476" y="1073"/>
                  </a:lnTo>
                  <a:lnTo>
                    <a:pt x="493" y="1100"/>
                  </a:lnTo>
                  <a:lnTo>
                    <a:pt x="512" y="1124"/>
                  </a:lnTo>
                  <a:lnTo>
                    <a:pt x="531" y="1148"/>
                  </a:lnTo>
                  <a:lnTo>
                    <a:pt x="554" y="1169"/>
                  </a:lnTo>
                  <a:lnTo>
                    <a:pt x="578" y="1190"/>
                  </a:lnTo>
                  <a:lnTo>
                    <a:pt x="604" y="1207"/>
                  </a:lnTo>
                  <a:lnTo>
                    <a:pt x="633" y="1222"/>
                  </a:lnTo>
                  <a:lnTo>
                    <a:pt x="664" y="1236"/>
                  </a:lnTo>
                  <a:lnTo>
                    <a:pt x="698" y="1247"/>
                  </a:lnTo>
                  <a:lnTo>
                    <a:pt x="735" y="1255"/>
                  </a:lnTo>
                  <a:lnTo>
                    <a:pt x="775" y="1261"/>
                  </a:lnTo>
                  <a:lnTo>
                    <a:pt x="818" y="1263"/>
                  </a:lnTo>
                  <a:lnTo>
                    <a:pt x="860" y="1263"/>
                  </a:lnTo>
                  <a:lnTo>
                    <a:pt x="906" y="1257"/>
                  </a:lnTo>
                  <a:lnTo>
                    <a:pt x="954" y="1253"/>
                  </a:lnTo>
                  <a:lnTo>
                    <a:pt x="1000" y="1249"/>
                  </a:lnTo>
                  <a:lnTo>
                    <a:pt x="1025" y="1249"/>
                  </a:lnTo>
                  <a:lnTo>
                    <a:pt x="1048" y="1251"/>
                  </a:lnTo>
                  <a:lnTo>
                    <a:pt x="1071" y="1253"/>
                  </a:lnTo>
                  <a:lnTo>
                    <a:pt x="1092" y="1257"/>
                  </a:lnTo>
                  <a:lnTo>
                    <a:pt x="1113" y="1265"/>
                  </a:lnTo>
                  <a:lnTo>
                    <a:pt x="1134" y="1274"/>
                  </a:lnTo>
                  <a:lnTo>
                    <a:pt x="1154" y="1286"/>
                  </a:lnTo>
                  <a:lnTo>
                    <a:pt x="1171" y="1299"/>
                  </a:lnTo>
                  <a:lnTo>
                    <a:pt x="1184" y="1316"/>
                  </a:lnTo>
                  <a:lnTo>
                    <a:pt x="1198" y="1332"/>
                  </a:lnTo>
                  <a:lnTo>
                    <a:pt x="1207" y="1349"/>
                  </a:lnTo>
                  <a:lnTo>
                    <a:pt x="1215" y="1366"/>
                  </a:lnTo>
                  <a:lnTo>
                    <a:pt x="1223" y="1384"/>
                  </a:lnTo>
                  <a:lnTo>
                    <a:pt x="1228" y="1401"/>
                  </a:lnTo>
                  <a:lnTo>
                    <a:pt x="1232" y="1418"/>
                  </a:lnTo>
                  <a:lnTo>
                    <a:pt x="1236" y="1435"/>
                  </a:lnTo>
                  <a:lnTo>
                    <a:pt x="1242" y="1472"/>
                  </a:lnTo>
                  <a:lnTo>
                    <a:pt x="1248" y="1508"/>
                  </a:lnTo>
                  <a:lnTo>
                    <a:pt x="1250" y="1526"/>
                  </a:lnTo>
                  <a:lnTo>
                    <a:pt x="1255" y="1543"/>
                  </a:lnTo>
                  <a:lnTo>
                    <a:pt x="1259" y="1560"/>
                  </a:lnTo>
                  <a:lnTo>
                    <a:pt x="1267" y="1578"/>
                  </a:lnTo>
                  <a:lnTo>
                    <a:pt x="1276" y="1597"/>
                  </a:lnTo>
                  <a:lnTo>
                    <a:pt x="1288" y="1616"/>
                  </a:lnTo>
                  <a:lnTo>
                    <a:pt x="1299" y="1633"/>
                  </a:lnTo>
                  <a:lnTo>
                    <a:pt x="1313" y="1649"/>
                  </a:lnTo>
                  <a:lnTo>
                    <a:pt x="1328" y="1664"/>
                  </a:lnTo>
                  <a:lnTo>
                    <a:pt x="1346" y="1677"/>
                  </a:lnTo>
                  <a:lnTo>
                    <a:pt x="1365" y="1691"/>
                  </a:lnTo>
                  <a:lnTo>
                    <a:pt x="1386" y="1702"/>
                  </a:lnTo>
                  <a:lnTo>
                    <a:pt x="1407" y="1712"/>
                  </a:lnTo>
                  <a:lnTo>
                    <a:pt x="1432" y="1721"/>
                  </a:lnTo>
                  <a:lnTo>
                    <a:pt x="1457" y="1729"/>
                  </a:lnTo>
                  <a:lnTo>
                    <a:pt x="1486" y="1737"/>
                  </a:lnTo>
                  <a:lnTo>
                    <a:pt x="1514" y="1743"/>
                  </a:lnTo>
                  <a:lnTo>
                    <a:pt x="1547" y="1746"/>
                  </a:lnTo>
                  <a:lnTo>
                    <a:pt x="1580" y="1750"/>
                  </a:lnTo>
                  <a:lnTo>
                    <a:pt x="1616" y="1754"/>
                  </a:lnTo>
                  <a:lnTo>
                    <a:pt x="1601" y="1766"/>
                  </a:lnTo>
                  <a:lnTo>
                    <a:pt x="1584" y="1777"/>
                  </a:lnTo>
                  <a:lnTo>
                    <a:pt x="1564" y="1787"/>
                  </a:lnTo>
                  <a:lnTo>
                    <a:pt x="1545" y="1794"/>
                  </a:lnTo>
                  <a:lnTo>
                    <a:pt x="1524" y="1802"/>
                  </a:lnTo>
                  <a:lnTo>
                    <a:pt x="1503" y="1808"/>
                  </a:lnTo>
                  <a:lnTo>
                    <a:pt x="1480" y="1814"/>
                  </a:lnTo>
                  <a:lnTo>
                    <a:pt x="1457" y="1817"/>
                  </a:lnTo>
                  <a:lnTo>
                    <a:pt x="1434" y="1821"/>
                  </a:lnTo>
                  <a:lnTo>
                    <a:pt x="1409" y="1823"/>
                  </a:lnTo>
                  <a:lnTo>
                    <a:pt x="1384" y="1823"/>
                  </a:lnTo>
                  <a:lnTo>
                    <a:pt x="1359" y="1823"/>
                  </a:lnTo>
                  <a:lnTo>
                    <a:pt x="1309" y="1821"/>
                  </a:lnTo>
                  <a:lnTo>
                    <a:pt x="1257" y="1816"/>
                  </a:lnTo>
                  <a:lnTo>
                    <a:pt x="1207" y="1806"/>
                  </a:lnTo>
                  <a:lnTo>
                    <a:pt x="1157" y="1793"/>
                  </a:lnTo>
                  <a:lnTo>
                    <a:pt x="1109" y="1777"/>
                  </a:lnTo>
                  <a:lnTo>
                    <a:pt x="1063" y="1760"/>
                  </a:lnTo>
                  <a:lnTo>
                    <a:pt x="1021" y="1739"/>
                  </a:lnTo>
                  <a:lnTo>
                    <a:pt x="983" y="1718"/>
                  </a:lnTo>
                  <a:lnTo>
                    <a:pt x="965" y="1706"/>
                  </a:lnTo>
                  <a:lnTo>
                    <a:pt x="950" y="1693"/>
                  </a:lnTo>
                  <a:lnTo>
                    <a:pt x="935" y="1679"/>
                  </a:lnTo>
                  <a:lnTo>
                    <a:pt x="921" y="1668"/>
                  </a:lnTo>
                  <a:lnTo>
                    <a:pt x="923" y="1700"/>
                  </a:lnTo>
                  <a:lnTo>
                    <a:pt x="927" y="1733"/>
                  </a:lnTo>
                  <a:lnTo>
                    <a:pt x="933" y="1766"/>
                  </a:lnTo>
                  <a:lnTo>
                    <a:pt x="940" y="1798"/>
                  </a:lnTo>
                  <a:lnTo>
                    <a:pt x="948" y="1829"/>
                  </a:lnTo>
                  <a:lnTo>
                    <a:pt x="960" y="1860"/>
                  </a:lnTo>
                  <a:lnTo>
                    <a:pt x="971" y="1890"/>
                  </a:lnTo>
                  <a:lnTo>
                    <a:pt x="985" y="1919"/>
                  </a:lnTo>
                  <a:lnTo>
                    <a:pt x="998" y="1948"/>
                  </a:lnTo>
                  <a:lnTo>
                    <a:pt x="1015" y="1975"/>
                  </a:lnTo>
                  <a:lnTo>
                    <a:pt x="1033" y="2002"/>
                  </a:lnTo>
                  <a:lnTo>
                    <a:pt x="1052" y="2027"/>
                  </a:lnTo>
                  <a:lnTo>
                    <a:pt x="1073" y="2052"/>
                  </a:lnTo>
                  <a:lnTo>
                    <a:pt x="1096" y="2075"/>
                  </a:lnTo>
                  <a:lnTo>
                    <a:pt x="1121" y="2096"/>
                  </a:lnTo>
                  <a:lnTo>
                    <a:pt x="1146" y="2117"/>
                  </a:lnTo>
                  <a:lnTo>
                    <a:pt x="1173" y="2136"/>
                  </a:lnTo>
                  <a:lnTo>
                    <a:pt x="1202" y="2153"/>
                  </a:lnTo>
                  <a:lnTo>
                    <a:pt x="1232" y="2169"/>
                  </a:lnTo>
                  <a:lnTo>
                    <a:pt x="1265" y="2182"/>
                  </a:lnTo>
                  <a:lnTo>
                    <a:pt x="1298" y="2196"/>
                  </a:lnTo>
                  <a:lnTo>
                    <a:pt x="1334" y="2205"/>
                  </a:lnTo>
                  <a:lnTo>
                    <a:pt x="1370" y="2215"/>
                  </a:lnTo>
                  <a:lnTo>
                    <a:pt x="1409" y="2221"/>
                  </a:lnTo>
                  <a:lnTo>
                    <a:pt x="1447" y="2224"/>
                  </a:lnTo>
                  <a:lnTo>
                    <a:pt x="1490" y="2226"/>
                  </a:lnTo>
                  <a:lnTo>
                    <a:pt x="1534" y="2226"/>
                  </a:lnTo>
                  <a:lnTo>
                    <a:pt x="1578" y="2224"/>
                  </a:lnTo>
                  <a:lnTo>
                    <a:pt x="1624" y="2219"/>
                  </a:lnTo>
                  <a:lnTo>
                    <a:pt x="1672" y="2213"/>
                  </a:lnTo>
                  <a:lnTo>
                    <a:pt x="1722" y="2201"/>
                  </a:lnTo>
                  <a:lnTo>
                    <a:pt x="1772" y="2190"/>
                  </a:lnTo>
                  <a:lnTo>
                    <a:pt x="1808" y="2182"/>
                  </a:lnTo>
                  <a:lnTo>
                    <a:pt x="1839" y="2178"/>
                  </a:lnTo>
                  <a:lnTo>
                    <a:pt x="1854" y="2178"/>
                  </a:lnTo>
                  <a:lnTo>
                    <a:pt x="1870" y="2180"/>
                  </a:lnTo>
                  <a:lnTo>
                    <a:pt x="1883" y="2182"/>
                  </a:lnTo>
                  <a:lnTo>
                    <a:pt x="1897" y="2186"/>
                  </a:lnTo>
                  <a:lnTo>
                    <a:pt x="1908" y="2192"/>
                  </a:lnTo>
                  <a:lnTo>
                    <a:pt x="1920" y="2199"/>
                  </a:lnTo>
                  <a:lnTo>
                    <a:pt x="1931" y="2207"/>
                  </a:lnTo>
                  <a:lnTo>
                    <a:pt x="1941" y="2217"/>
                  </a:lnTo>
                  <a:lnTo>
                    <a:pt x="1950" y="2228"/>
                  </a:lnTo>
                  <a:lnTo>
                    <a:pt x="1960" y="2244"/>
                  </a:lnTo>
                  <a:lnTo>
                    <a:pt x="1968" y="2259"/>
                  </a:lnTo>
                  <a:lnTo>
                    <a:pt x="1975" y="2276"/>
                  </a:lnTo>
                  <a:lnTo>
                    <a:pt x="1985" y="2299"/>
                  </a:lnTo>
                  <a:lnTo>
                    <a:pt x="1996" y="2320"/>
                  </a:lnTo>
                  <a:lnTo>
                    <a:pt x="2010" y="2340"/>
                  </a:lnTo>
                  <a:lnTo>
                    <a:pt x="2025" y="2357"/>
                  </a:lnTo>
                  <a:lnTo>
                    <a:pt x="2041" y="2370"/>
                  </a:lnTo>
                  <a:lnTo>
                    <a:pt x="2058" y="2384"/>
                  </a:lnTo>
                  <a:lnTo>
                    <a:pt x="2075" y="2393"/>
                  </a:lnTo>
                  <a:lnTo>
                    <a:pt x="2094" y="2403"/>
                  </a:lnTo>
                  <a:lnTo>
                    <a:pt x="2114" y="2409"/>
                  </a:lnTo>
                  <a:lnTo>
                    <a:pt x="2133" y="2414"/>
                  </a:lnTo>
                  <a:lnTo>
                    <a:pt x="2154" y="2418"/>
                  </a:lnTo>
                  <a:lnTo>
                    <a:pt x="2175" y="2420"/>
                  </a:lnTo>
                  <a:lnTo>
                    <a:pt x="2196" y="2420"/>
                  </a:lnTo>
                  <a:lnTo>
                    <a:pt x="2217" y="2420"/>
                  </a:lnTo>
                  <a:lnTo>
                    <a:pt x="2238" y="2420"/>
                  </a:lnTo>
                  <a:lnTo>
                    <a:pt x="2259" y="2418"/>
                  </a:lnTo>
                  <a:lnTo>
                    <a:pt x="2307" y="2413"/>
                  </a:lnTo>
                  <a:lnTo>
                    <a:pt x="2354" y="2409"/>
                  </a:lnTo>
                  <a:lnTo>
                    <a:pt x="2396" y="2409"/>
                  </a:lnTo>
                  <a:lnTo>
                    <a:pt x="2438" y="2411"/>
                  </a:lnTo>
                  <a:lnTo>
                    <a:pt x="2476" y="2413"/>
                  </a:lnTo>
                  <a:lnTo>
                    <a:pt x="2515" y="2418"/>
                  </a:lnTo>
                  <a:lnTo>
                    <a:pt x="2549" y="2428"/>
                  </a:lnTo>
                  <a:lnTo>
                    <a:pt x="2584" y="2438"/>
                  </a:lnTo>
                  <a:lnTo>
                    <a:pt x="2618" y="2451"/>
                  </a:lnTo>
                  <a:lnTo>
                    <a:pt x="2649" y="2466"/>
                  </a:lnTo>
                  <a:lnTo>
                    <a:pt x="2680" y="2485"/>
                  </a:lnTo>
                  <a:lnTo>
                    <a:pt x="2711" y="2505"/>
                  </a:lnTo>
                  <a:lnTo>
                    <a:pt x="2739" y="2530"/>
                  </a:lnTo>
                  <a:lnTo>
                    <a:pt x="2768" y="2555"/>
                  </a:lnTo>
                  <a:lnTo>
                    <a:pt x="2797" y="2585"/>
                  </a:lnTo>
                  <a:lnTo>
                    <a:pt x="2826" y="2616"/>
                  </a:lnTo>
                  <a:lnTo>
                    <a:pt x="2828" y="2589"/>
                  </a:lnTo>
                  <a:lnTo>
                    <a:pt x="2830" y="2562"/>
                  </a:lnTo>
                  <a:lnTo>
                    <a:pt x="2828" y="2537"/>
                  </a:lnTo>
                  <a:lnTo>
                    <a:pt x="2828" y="2510"/>
                  </a:lnTo>
                  <a:lnTo>
                    <a:pt x="2824" y="2487"/>
                  </a:lnTo>
                  <a:lnTo>
                    <a:pt x="2820" y="2462"/>
                  </a:lnTo>
                  <a:lnTo>
                    <a:pt x="2816" y="2439"/>
                  </a:lnTo>
                  <a:lnTo>
                    <a:pt x="2809" y="2416"/>
                  </a:lnTo>
                  <a:lnTo>
                    <a:pt x="2803" y="2395"/>
                  </a:lnTo>
                  <a:lnTo>
                    <a:pt x="2795" y="2374"/>
                  </a:lnTo>
                  <a:lnTo>
                    <a:pt x="2786" y="2353"/>
                  </a:lnTo>
                  <a:lnTo>
                    <a:pt x="2776" y="2334"/>
                  </a:lnTo>
                  <a:lnTo>
                    <a:pt x="2755" y="2295"/>
                  </a:lnTo>
                  <a:lnTo>
                    <a:pt x="2732" y="2261"/>
                  </a:lnTo>
                  <a:lnTo>
                    <a:pt x="2707" y="2226"/>
                  </a:lnTo>
                  <a:lnTo>
                    <a:pt x="2680" y="2198"/>
                  </a:lnTo>
                  <a:lnTo>
                    <a:pt x="2651" y="2169"/>
                  </a:lnTo>
                  <a:lnTo>
                    <a:pt x="2622" y="2144"/>
                  </a:lnTo>
                  <a:lnTo>
                    <a:pt x="2594" y="2119"/>
                  </a:lnTo>
                  <a:lnTo>
                    <a:pt x="2567" y="2098"/>
                  </a:lnTo>
                  <a:lnTo>
                    <a:pt x="2540" y="2080"/>
                  </a:lnTo>
                  <a:lnTo>
                    <a:pt x="2513" y="2063"/>
                  </a:lnTo>
                  <a:lnTo>
                    <a:pt x="2490" y="2048"/>
                  </a:lnTo>
                  <a:lnTo>
                    <a:pt x="2471" y="2032"/>
                  </a:lnTo>
                  <a:lnTo>
                    <a:pt x="2453" y="2019"/>
                  </a:lnTo>
                  <a:lnTo>
                    <a:pt x="2438" y="2004"/>
                  </a:lnTo>
                  <a:lnTo>
                    <a:pt x="2425" y="1988"/>
                  </a:lnTo>
                  <a:lnTo>
                    <a:pt x="2413" y="1973"/>
                  </a:lnTo>
                  <a:lnTo>
                    <a:pt x="2403" y="1960"/>
                  </a:lnTo>
                  <a:lnTo>
                    <a:pt x="2396" y="1944"/>
                  </a:lnTo>
                  <a:lnTo>
                    <a:pt x="2390" y="1931"/>
                  </a:lnTo>
                  <a:lnTo>
                    <a:pt x="2384" y="1915"/>
                  </a:lnTo>
                  <a:lnTo>
                    <a:pt x="2380" y="1902"/>
                  </a:lnTo>
                  <a:lnTo>
                    <a:pt x="2377" y="1888"/>
                  </a:lnTo>
                  <a:lnTo>
                    <a:pt x="2375" y="1862"/>
                  </a:lnTo>
                  <a:lnTo>
                    <a:pt x="2373" y="1837"/>
                  </a:lnTo>
                  <a:lnTo>
                    <a:pt x="2390" y="1856"/>
                  </a:lnTo>
                  <a:lnTo>
                    <a:pt x="2407" y="1873"/>
                  </a:lnTo>
                  <a:lnTo>
                    <a:pt x="2426" y="1890"/>
                  </a:lnTo>
                  <a:lnTo>
                    <a:pt x="2446" y="1906"/>
                  </a:lnTo>
                  <a:lnTo>
                    <a:pt x="2467" y="1919"/>
                  </a:lnTo>
                  <a:lnTo>
                    <a:pt x="2486" y="1931"/>
                  </a:lnTo>
                  <a:lnTo>
                    <a:pt x="2507" y="1942"/>
                  </a:lnTo>
                  <a:lnTo>
                    <a:pt x="2528" y="1954"/>
                  </a:lnTo>
                  <a:lnTo>
                    <a:pt x="2549" y="1963"/>
                  </a:lnTo>
                  <a:lnTo>
                    <a:pt x="2572" y="1971"/>
                  </a:lnTo>
                  <a:lnTo>
                    <a:pt x="2594" y="1979"/>
                  </a:lnTo>
                  <a:lnTo>
                    <a:pt x="2617" y="1986"/>
                  </a:lnTo>
                  <a:lnTo>
                    <a:pt x="2663" y="1996"/>
                  </a:lnTo>
                  <a:lnTo>
                    <a:pt x="2709" y="2004"/>
                  </a:lnTo>
                  <a:lnTo>
                    <a:pt x="2747" y="2009"/>
                  </a:lnTo>
                  <a:lnTo>
                    <a:pt x="2786" y="2017"/>
                  </a:lnTo>
                  <a:lnTo>
                    <a:pt x="2822" y="2025"/>
                  </a:lnTo>
                  <a:lnTo>
                    <a:pt x="2858" y="2032"/>
                  </a:lnTo>
                  <a:lnTo>
                    <a:pt x="2891" y="2042"/>
                  </a:lnTo>
                  <a:lnTo>
                    <a:pt x="2924" y="2052"/>
                  </a:lnTo>
                  <a:lnTo>
                    <a:pt x="2954" y="2063"/>
                  </a:lnTo>
                  <a:lnTo>
                    <a:pt x="2983" y="2075"/>
                  </a:lnTo>
                  <a:lnTo>
                    <a:pt x="3012" y="2088"/>
                  </a:lnTo>
                  <a:lnTo>
                    <a:pt x="3037" y="2102"/>
                  </a:lnTo>
                  <a:lnTo>
                    <a:pt x="3062" y="2117"/>
                  </a:lnTo>
                  <a:lnTo>
                    <a:pt x="3085" y="2134"/>
                  </a:lnTo>
                  <a:lnTo>
                    <a:pt x="3106" y="2151"/>
                  </a:lnTo>
                  <a:lnTo>
                    <a:pt x="3125" y="2169"/>
                  </a:lnTo>
                  <a:lnTo>
                    <a:pt x="3143" y="2188"/>
                  </a:lnTo>
                  <a:lnTo>
                    <a:pt x="3160" y="2209"/>
                  </a:lnTo>
                  <a:lnTo>
                    <a:pt x="3160" y="2180"/>
                  </a:lnTo>
                  <a:lnTo>
                    <a:pt x="3160" y="2151"/>
                  </a:lnTo>
                  <a:lnTo>
                    <a:pt x="3156" y="2125"/>
                  </a:lnTo>
                  <a:lnTo>
                    <a:pt x="3152" y="2100"/>
                  </a:lnTo>
                  <a:lnTo>
                    <a:pt x="3146" y="2075"/>
                  </a:lnTo>
                  <a:lnTo>
                    <a:pt x="3139" y="2052"/>
                  </a:lnTo>
                  <a:lnTo>
                    <a:pt x="3129" y="2029"/>
                  </a:lnTo>
                  <a:lnTo>
                    <a:pt x="3120" y="2008"/>
                  </a:lnTo>
                  <a:lnTo>
                    <a:pt x="3106" y="1988"/>
                  </a:lnTo>
                  <a:lnTo>
                    <a:pt x="3095" y="1969"/>
                  </a:lnTo>
                  <a:lnTo>
                    <a:pt x="3081" y="1950"/>
                  </a:lnTo>
                  <a:lnTo>
                    <a:pt x="3066" y="1933"/>
                  </a:lnTo>
                  <a:lnTo>
                    <a:pt x="3035" y="1900"/>
                  </a:lnTo>
                  <a:lnTo>
                    <a:pt x="3004" y="1871"/>
                  </a:lnTo>
                  <a:lnTo>
                    <a:pt x="2937" y="1817"/>
                  </a:lnTo>
                  <a:lnTo>
                    <a:pt x="2876" y="1769"/>
                  </a:lnTo>
                  <a:lnTo>
                    <a:pt x="2849" y="1746"/>
                  </a:lnTo>
                  <a:lnTo>
                    <a:pt x="2828" y="1721"/>
                  </a:lnTo>
                  <a:lnTo>
                    <a:pt x="2818" y="1710"/>
                  </a:lnTo>
                  <a:lnTo>
                    <a:pt x="2810" y="1698"/>
                  </a:lnTo>
                  <a:lnTo>
                    <a:pt x="2803" y="1685"/>
                  </a:lnTo>
                  <a:lnTo>
                    <a:pt x="2799" y="1673"/>
                  </a:lnTo>
                  <a:lnTo>
                    <a:pt x="2837" y="1698"/>
                  </a:lnTo>
                  <a:lnTo>
                    <a:pt x="2876" y="1718"/>
                  </a:lnTo>
                  <a:lnTo>
                    <a:pt x="2910" y="1735"/>
                  </a:lnTo>
                  <a:lnTo>
                    <a:pt x="2947" y="1746"/>
                  </a:lnTo>
                  <a:lnTo>
                    <a:pt x="2983" y="1756"/>
                  </a:lnTo>
                  <a:lnTo>
                    <a:pt x="3020" y="1760"/>
                  </a:lnTo>
                  <a:lnTo>
                    <a:pt x="3058" y="1762"/>
                  </a:lnTo>
                  <a:lnTo>
                    <a:pt x="3098" y="1760"/>
                  </a:lnTo>
                  <a:lnTo>
                    <a:pt x="3125" y="1758"/>
                  </a:lnTo>
                  <a:lnTo>
                    <a:pt x="3156" y="1752"/>
                  </a:lnTo>
                  <a:lnTo>
                    <a:pt x="3185" y="1746"/>
                  </a:lnTo>
                  <a:lnTo>
                    <a:pt x="3216" y="1739"/>
                  </a:lnTo>
                  <a:lnTo>
                    <a:pt x="3244" y="1733"/>
                  </a:lnTo>
                  <a:lnTo>
                    <a:pt x="3275" y="1727"/>
                  </a:lnTo>
                  <a:lnTo>
                    <a:pt x="3306" y="1723"/>
                  </a:lnTo>
                  <a:lnTo>
                    <a:pt x="3337" y="1721"/>
                  </a:lnTo>
                  <a:lnTo>
                    <a:pt x="3367" y="1721"/>
                  </a:lnTo>
                  <a:lnTo>
                    <a:pt x="3396" y="1725"/>
                  </a:lnTo>
                  <a:lnTo>
                    <a:pt x="3411" y="1729"/>
                  </a:lnTo>
                  <a:lnTo>
                    <a:pt x="3427" y="1735"/>
                  </a:lnTo>
                  <a:lnTo>
                    <a:pt x="3440" y="1741"/>
                  </a:lnTo>
                  <a:lnTo>
                    <a:pt x="3456" y="1746"/>
                  </a:lnTo>
                  <a:lnTo>
                    <a:pt x="3469" y="1756"/>
                  </a:lnTo>
                  <a:lnTo>
                    <a:pt x="3484" y="1766"/>
                  </a:lnTo>
                  <a:lnTo>
                    <a:pt x="3498" y="1777"/>
                  </a:lnTo>
                  <a:lnTo>
                    <a:pt x="3511" y="1791"/>
                  </a:lnTo>
                  <a:lnTo>
                    <a:pt x="3525" y="1806"/>
                  </a:lnTo>
                  <a:lnTo>
                    <a:pt x="3538" y="1823"/>
                  </a:lnTo>
                  <a:lnTo>
                    <a:pt x="3552" y="1840"/>
                  </a:lnTo>
                  <a:lnTo>
                    <a:pt x="3563" y="1862"/>
                  </a:lnTo>
                  <a:lnTo>
                    <a:pt x="3596" y="1842"/>
                  </a:lnTo>
                  <a:lnTo>
                    <a:pt x="3630" y="1827"/>
                  </a:lnTo>
                  <a:lnTo>
                    <a:pt x="3665" y="1814"/>
                  </a:lnTo>
                  <a:lnTo>
                    <a:pt x="3699" y="1804"/>
                  </a:lnTo>
                  <a:lnTo>
                    <a:pt x="3736" y="1798"/>
                  </a:lnTo>
                  <a:lnTo>
                    <a:pt x="3772" y="1794"/>
                  </a:lnTo>
                  <a:lnTo>
                    <a:pt x="3809" y="1794"/>
                  </a:lnTo>
                  <a:lnTo>
                    <a:pt x="3843" y="1796"/>
                  </a:lnTo>
                  <a:lnTo>
                    <a:pt x="3880" y="1800"/>
                  </a:lnTo>
                  <a:lnTo>
                    <a:pt x="3916" y="1808"/>
                  </a:lnTo>
                  <a:lnTo>
                    <a:pt x="3951" y="1816"/>
                  </a:lnTo>
                  <a:lnTo>
                    <a:pt x="3986" y="1827"/>
                  </a:lnTo>
                  <a:lnTo>
                    <a:pt x="4018" y="1839"/>
                  </a:lnTo>
                  <a:lnTo>
                    <a:pt x="4051" y="1854"/>
                  </a:lnTo>
                  <a:lnTo>
                    <a:pt x="4080" y="1869"/>
                  </a:lnTo>
                  <a:lnTo>
                    <a:pt x="4110" y="1887"/>
                  </a:lnTo>
                  <a:close/>
                  <a:moveTo>
                    <a:pt x="2246" y="1449"/>
                  </a:moveTo>
                  <a:lnTo>
                    <a:pt x="1862" y="1449"/>
                  </a:lnTo>
                  <a:lnTo>
                    <a:pt x="1862" y="1063"/>
                  </a:lnTo>
                  <a:lnTo>
                    <a:pt x="2246" y="1063"/>
                  </a:lnTo>
                  <a:lnTo>
                    <a:pt x="2246" y="1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2405069423"/>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bwMode="auto">
          <a:xfrm>
            <a:off x="335360" y="716436"/>
            <a:ext cx="11521280" cy="1225803"/>
          </a:xfrm>
          <a:prstGeom prst="rect">
            <a:avLst/>
          </a:prstGeom>
          <a:noFill/>
          <a:ln w="9525">
            <a:noFill/>
            <a:miter lim="800000"/>
            <a:headEnd/>
            <a:tailEnd/>
          </a:ln>
        </p:spPr>
        <p:txBody>
          <a:bodyPr lIns="91440" tIns="45720" rIns="91440" bIns="45720" anchor="t" anchorCtr="0"/>
          <a:lstStyle>
            <a:lvl1pPr algn="ctr">
              <a:defRPr sz="4000"/>
            </a:lvl1pPr>
          </a:lstStyle>
          <a:p>
            <a:pPr lvl="0"/>
            <a:r>
              <a:rPr lang="fi-FI" dirty="0"/>
              <a:t>CLICK TO ADD TITLE</a:t>
            </a:r>
            <a:endParaRPr lang="en-US" dirty="0"/>
          </a:p>
        </p:txBody>
      </p:sp>
      <p:sp>
        <p:nvSpPr>
          <p:cNvPr id="13" name="Text Placeholder 2"/>
          <p:cNvSpPr>
            <a:spLocks noGrp="1"/>
          </p:cNvSpPr>
          <p:nvPr>
            <p:ph idx="1" hasCustomPrompt="1"/>
          </p:nvPr>
        </p:nvSpPr>
        <p:spPr bwMode="auto">
          <a:xfrm>
            <a:off x="335360" y="2204865"/>
            <a:ext cx="11521280" cy="3888432"/>
          </a:xfrm>
          <a:prstGeom prst="rect">
            <a:avLst/>
          </a:prstGeom>
          <a:noFill/>
          <a:ln w="9525">
            <a:noFill/>
            <a:miter lim="800000"/>
            <a:headEnd/>
            <a:tailEnd/>
          </a:ln>
        </p:spPr>
        <p:txBody>
          <a:bodyPr lIns="91440" tIns="45720" rIns="91440" bIns="45720"/>
          <a:lstStyle>
            <a:lvl1pPr marL="92075" indent="0" algn="ctr">
              <a:lnSpc>
                <a:spcPct val="80000"/>
              </a:lnSpc>
              <a:buClr>
                <a:schemeClr val="tx1"/>
              </a:buClr>
              <a:buFont typeface="Arial"/>
              <a:buNone/>
              <a:defRPr>
                <a:latin typeface="+mj-lt"/>
                <a:cs typeface="Gotham narrow bold"/>
              </a:defRPr>
            </a:lvl1pPr>
            <a:lvl2pPr marL="382588" indent="0" algn="ctr">
              <a:lnSpc>
                <a:spcPct val="80000"/>
              </a:lnSpc>
              <a:buFont typeface="Arial"/>
              <a:buNone/>
              <a:defRPr>
                <a:latin typeface="Gotham Narrow Book"/>
                <a:cs typeface="Gotham Narrow Book"/>
              </a:defRPr>
            </a:lvl2pPr>
            <a:lvl3pPr marL="765175" indent="0" algn="ctr">
              <a:lnSpc>
                <a:spcPct val="80000"/>
              </a:lnSpc>
              <a:buNone/>
              <a:defRPr>
                <a:latin typeface="Gotham Narrow Book"/>
                <a:cs typeface="Gotham Narrow Book"/>
              </a:defRPr>
            </a:lvl3pPr>
            <a:lvl4pPr marL="1241425" indent="0" algn="ctr">
              <a:lnSpc>
                <a:spcPct val="80000"/>
              </a:lnSpc>
              <a:buNone/>
              <a:defRPr>
                <a:latin typeface="Gotham Narrow Book"/>
                <a:cs typeface="Gotham Narrow Book"/>
              </a:defRPr>
            </a:lvl4pPr>
            <a:lvl5pPr marL="1717675" indent="0" algn="ctr">
              <a:lnSpc>
                <a:spcPct val="80000"/>
              </a:lnSpc>
              <a:buNone/>
              <a:defRPr>
                <a:latin typeface="Gotham Narrow Book"/>
                <a:cs typeface="Gotham Narrow Book"/>
              </a:defRPr>
            </a:lvl5pPr>
          </a:lstStyle>
          <a:p>
            <a:r>
              <a:rPr lang="en-US" dirty="0"/>
              <a:t>Click to add subtitle</a:t>
            </a:r>
          </a:p>
        </p:txBody>
      </p:sp>
      <p:sp>
        <p:nvSpPr>
          <p:cNvPr id="2" name="Päivämäärän paikkamerkki 1"/>
          <p:cNvSpPr>
            <a:spLocks noGrp="1"/>
          </p:cNvSpPr>
          <p:nvPr>
            <p:ph type="dt" sz="half" idx="10"/>
          </p:nvPr>
        </p:nvSpPr>
        <p:spPr/>
        <p:txBody>
          <a:bodyPr/>
          <a:lstStyle/>
          <a:p>
            <a:pPr>
              <a:defRPr/>
            </a:pPr>
            <a:fld id="{BF7FDA8B-5024-41F9-96BA-DE834CBA048A}" type="datetime1">
              <a:rPr lang="en-GB" smtClean="0"/>
              <a:t>22/08/2025</a:t>
            </a:fld>
            <a:endParaRPr lang="fi-FI" dirty="0"/>
          </a:p>
        </p:txBody>
      </p:sp>
      <p:sp>
        <p:nvSpPr>
          <p:cNvPr id="4" name="Alatunnisteen paikkamerkki 3"/>
          <p:cNvSpPr>
            <a:spLocks noGrp="1"/>
          </p:cNvSpPr>
          <p:nvPr>
            <p:ph type="ftr" sz="quarter" idx="11"/>
          </p:nvPr>
        </p:nvSpPr>
        <p:spPr/>
        <p:txBody>
          <a:bodyPr/>
          <a:lstStyle/>
          <a:p>
            <a:r>
              <a:rPr lang="fi-FI"/>
              <a:t>Presentation Name / Firstname Lastname</a:t>
            </a:r>
            <a:endParaRPr lang="fi-FI" dirty="0"/>
          </a:p>
        </p:txBody>
      </p:sp>
      <p:sp>
        <p:nvSpPr>
          <p:cNvPr id="7" name="Dian numeron paikkamerkki 6"/>
          <p:cNvSpPr>
            <a:spLocks noGrp="1"/>
          </p:cNvSpPr>
          <p:nvPr>
            <p:ph type="sldNum" sz="quarter" idx="12"/>
          </p:nvPr>
        </p:nvSpPr>
        <p:spPr/>
        <p:txBody>
          <a:bodyPr/>
          <a:lstStyle/>
          <a:p>
            <a:pPr>
              <a:defRPr/>
            </a:pPr>
            <a:fld id="{4669315E-5A66-CF44-AE5D-C333B2F730C4}" type="slidenum">
              <a:rPr lang="en-GB" smtClean="0"/>
              <a:pPr>
                <a:defRPr/>
              </a:pPr>
              <a:t>‹#›</a:t>
            </a:fld>
            <a:endParaRPr lang="en-GB" dirty="0"/>
          </a:p>
        </p:txBody>
      </p:sp>
    </p:spTree>
    <p:extLst>
      <p:ext uri="{BB962C8B-B14F-4D97-AF65-F5344CB8AC3E}">
        <p14:creationId xmlns:p14="http://schemas.microsoft.com/office/powerpoint/2010/main" val="134944570"/>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bwMode="auto">
          <a:xfrm>
            <a:off x="772997" y="2204865"/>
            <a:ext cx="11029519" cy="3888432"/>
          </a:xfrm>
          <a:prstGeom prst="rect">
            <a:avLst/>
          </a:prstGeom>
          <a:noFill/>
          <a:ln w="9525">
            <a:noFill/>
            <a:miter lim="800000"/>
            <a:headEnd/>
            <a:tailEnd/>
          </a:ln>
        </p:spPr>
        <p:txBody>
          <a:bodyPr lIns="91440" tIns="45720" rIns="91440" bIns="45720"/>
          <a:lstStyle>
            <a:lvl1pPr marL="342900" indent="-250825">
              <a:lnSpc>
                <a:spcPct val="80000"/>
              </a:lnSpc>
              <a:buClr>
                <a:schemeClr val="tx1"/>
              </a:buClr>
              <a:buFont typeface="Arial"/>
              <a:buChar char="•"/>
              <a:defRPr>
                <a:latin typeface="+mn-lt"/>
                <a:cs typeface="Gotham Narrow Book"/>
              </a:defRPr>
            </a:lvl1pPr>
            <a:lvl2pPr marL="725488" indent="-342900">
              <a:lnSpc>
                <a:spcPct val="80000"/>
              </a:lnSpc>
              <a:buFont typeface="Arial"/>
              <a:buChar char="•"/>
              <a:defRPr>
                <a:latin typeface="+mn-lt"/>
                <a:cs typeface="Gotham Narrow Book"/>
              </a:defRPr>
            </a:lvl2pPr>
            <a:lvl3pPr>
              <a:lnSpc>
                <a:spcPct val="80000"/>
              </a:lnSpc>
              <a:defRPr>
                <a:latin typeface="+mn-lt"/>
                <a:cs typeface="Gotham Narrow Book"/>
              </a:defRPr>
            </a:lvl3pPr>
            <a:lvl4pPr>
              <a:lnSpc>
                <a:spcPct val="80000"/>
              </a:lnSpc>
              <a:defRPr>
                <a:latin typeface="+mn-lt"/>
                <a:cs typeface="Gotham Narrow Book"/>
              </a:defRPr>
            </a:lvl4pPr>
            <a:lvl5pPr>
              <a:lnSpc>
                <a:spcPct val="80000"/>
              </a:lnSpc>
              <a:defRPr>
                <a:latin typeface="+mn-lt"/>
                <a:cs typeface="Gotham Narrow Book"/>
              </a:defRPr>
            </a:lvl5pPr>
          </a:lstStyle>
          <a:p>
            <a:pPr lvl="0"/>
            <a:r>
              <a:rPr lang="fi-FI" noProof="0" dirty="0" err="1"/>
              <a:t>Click</a:t>
            </a:r>
            <a:r>
              <a:rPr lang="fi-FI" noProof="0" dirty="0"/>
              <a:t> to </a:t>
            </a:r>
            <a:r>
              <a:rPr lang="fi-FI" noProof="0" dirty="0" err="1"/>
              <a:t>add</a:t>
            </a:r>
            <a:r>
              <a:rPr lang="fi-FI" noProof="0" dirty="0"/>
              <a:t> </a:t>
            </a:r>
            <a:r>
              <a:rPr lang="fi-FI" noProof="0" dirty="0" err="1"/>
              <a:t>text</a:t>
            </a:r>
            <a:endParaRPr lang="fi-FI" noProof="0" dirty="0"/>
          </a:p>
          <a:p>
            <a:pPr lvl="1"/>
            <a:r>
              <a:rPr lang="fi-FI" noProof="0" dirty="0"/>
              <a:t>Second </a:t>
            </a:r>
            <a:r>
              <a:rPr lang="fi-FI" noProof="0" dirty="0" err="1"/>
              <a:t>level</a:t>
            </a:r>
            <a:endParaRPr lang="fi-FI" noProof="0" dirty="0"/>
          </a:p>
          <a:p>
            <a:pPr lvl="2"/>
            <a:r>
              <a:rPr lang="fi-FI" noProof="0" dirty="0"/>
              <a:t>Third </a:t>
            </a:r>
            <a:r>
              <a:rPr lang="fi-FI" noProof="0" dirty="0" err="1"/>
              <a:t>level</a:t>
            </a:r>
            <a:endParaRPr lang="fi-FI" noProof="0" dirty="0"/>
          </a:p>
          <a:p>
            <a:pPr lvl="3"/>
            <a:r>
              <a:rPr lang="fi-FI" noProof="0" dirty="0" err="1"/>
              <a:t>Fourth</a:t>
            </a:r>
            <a:r>
              <a:rPr lang="fi-FI" noProof="0" dirty="0"/>
              <a:t> </a:t>
            </a:r>
            <a:r>
              <a:rPr lang="fi-FI" noProof="0" dirty="0" err="1"/>
              <a:t>level</a:t>
            </a:r>
            <a:endParaRPr lang="fi-FI" noProof="0" dirty="0"/>
          </a:p>
          <a:p>
            <a:pPr lvl="4"/>
            <a:r>
              <a:rPr lang="fi-FI" noProof="0" dirty="0" err="1"/>
              <a:t>Fifth</a:t>
            </a:r>
            <a:r>
              <a:rPr lang="fi-FI" noProof="0" dirty="0"/>
              <a:t> </a:t>
            </a:r>
            <a:r>
              <a:rPr lang="fi-FI" noProof="0" dirty="0" err="1"/>
              <a:t>level</a:t>
            </a:r>
            <a:endParaRPr lang="en-US" noProof="0" dirty="0"/>
          </a:p>
        </p:txBody>
      </p:sp>
      <p:sp>
        <p:nvSpPr>
          <p:cNvPr id="2" name="Päivämäärän paikkamerkki 1"/>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4" name="Alatunnisteen paikkamerkki 3"/>
          <p:cNvSpPr>
            <a:spLocks noGrp="1"/>
          </p:cNvSpPr>
          <p:nvPr>
            <p:ph type="ftr" sz="quarter" idx="11"/>
          </p:nvPr>
        </p:nvSpPr>
        <p:spPr/>
        <p:txBody>
          <a:bodyPr/>
          <a:lstStyle/>
          <a:p>
            <a:r>
              <a:rPr lang="fi-FI"/>
              <a:t>Presentation Name / Firstname Lastname</a:t>
            </a:r>
            <a:endParaRPr lang="fi-FI" dirty="0"/>
          </a:p>
        </p:txBody>
      </p:sp>
      <p:sp>
        <p:nvSpPr>
          <p:cNvPr id="7" name="Dian numeron paikkamerkki 6"/>
          <p:cNvSpPr>
            <a:spLocks noGrp="1"/>
          </p:cNvSpPr>
          <p:nvPr>
            <p:ph type="sldNum" sz="quarter" idx="12"/>
          </p:nvPr>
        </p:nvSpPr>
        <p:spPr/>
        <p:txBody>
          <a:bodyPr/>
          <a:lstStyle/>
          <a:p>
            <a:pPr>
              <a:defRPr/>
            </a:pPr>
            <a:fld id="{4669315E-5A66-CF44-AE5D-C333B2F730C4}" type="slidenum">
              <a:rPr lang="en-GB" smtClean="0"/>
              <a:pPr>
                <a:defRPr/>
              </a:pPr>
              <a:t>‹#›</a:t>
            </a:fld>
            <a:endParaRPr lang="en-GB" dirty="0"/>
          </a:p>
        </p:txBody>
      </p:sp>
      <p:sp>
        <p:nvSpPr>
          <p:cNvPr id="5" name="Title 4"/>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75444441"/>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Basic 2">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bwMode="auto">
          <a:xfrm>
            <a:off x="774000" y="2204865"/>
            <a:ext cx="5280587" cy="3888432"/>
          </a:xfrm>
          <a:prstGeom prst="rect">
            <a:avLst/>
          </a:prstGeom>
          <a:noFill/>
          <a:ln w="9525">
            <a:noFill/>
            <a:miter lim="800000"/>
            <a:headEnd/>
            <a:tailEnd/>
          </a:ln>
        </p:spPr>
        <p:txBody>
          <a:bodyPr lIns="91440" tIns="45720" rIns="91440" bIns="45720"/>
          <a:lstStyle>
            <a:lvl1pPr marL="342900" indent="-250825">
              <a:lnSpc>
                <a:spcPct val="80000"/>
              </a:lnSpc>
              <a:buClr>
                <a:schemeClr val="tx1"/>
              </a:buClr>
              <a:buFont typeface="Arial"/>
              <a:buChar char="•"/>
              <a:defRPr>
                <a:latin typeface="+mn-lt"/>
                <a:cs typeface="Gotham Narrow Book"/>
              </a:defRPr>
            </a:lvl1pPr>
            <a:lvl2pPr marL="725488" indent="-342900">
              <a:lnSpc>
                <a:spcPct val="80000"/>
              </a:lnSpc>
              <a:buFont typeface="Arial"/>
              <a:buChar char="•"/>
              <a:defRPr>
                <a:latin typeface="+mn-lt"/>
                <a:cs typeface="Gotham Narrow Book"/>
              </a:defRPr>
            </a:lvl2pPr>
            <a:lvl3pPr>
              <a:lnSpc>
                <a:spcPct val="80000"/>
              </a:lnSpc>
              <a:defRPr>
                <a:latin typeface="+mn-lt"/>
                <a:cs typeface="Gotham Narrow Book"/>
              </a:defRPr>
            </a:lvl3pPr>
            <a:lvl4pPr>
              <a:lnSpc>
                <a:spcPct val="80000"/>
              </a:lnSpc>
              <a:defRPr>
                <a:latin typeface="+mn-lt"/>
                <a:cs typeface="Gotham Narrow Book"/>
              </a:defRPr>
            </a:lvl4pPr>
            <a:lvl5pPr>
              <a:lnSpc>
                <a:spcPct val="80000"/>
              </a:lnSpc>
              <a:defRPr>
                <a:latin typeface="+mn-lt"/>
                <a:cs typeface="Gotham Narrow Book"/>
              </a:defRPr>
            </a:lvl5pPr>
          </a:lstStyle>
          <a:p>
            <a:pPr lvl="0"/>
            <a:r>
              <a:rPr lang="fi-FI" noProof="0" dirty="0" err="1"/>
              <a:t>Click</a:t>
            </a:r>
            <a:r>
              <a:rPr lang="fi-FI" noProof="0" dirty="0"/>
              <a:t> to </a:t>
            </a:r>
            <a:r>
              <a:rPr lang="fi-FI" noProof="0" dirty="0" err="1"/>
              <a:t>add</a:t>
            </a:r>
            <a:r>
              <a:rPr lang="fi-FI" noProof="0" dirty="0"/>
              <a:t> </a:t>
            </a:r>
            <a:r>
              <a:rPr lang="fi-FI" noProof="0" dirty="0" err="1"/>
              <a:t>text</a:t>
            </a:r>
            <a:endParaRPr lang="fi-FI" noProof="0" dirty="0"/>
          </a:p>
          <a:p>
            <a:pPr lvl="1"/>
            <a:r>
              <a:rPr lang="fi-FI" noProof="0" dirty="0"/>
              <a:t>Second </a:t>
            </a:r>
            <a:r>
              <a:rPr lang="fi-FI" noProof="0" dirty="0" err="1"/>
              <a:t>level</a:t>
            </a:r>
            <a:endParaRPr lang="fi-FI" noProof="0" dirty="0"/>
          </a:p>
          <a:p>
            <a:pPr lvl="2"/>
            <a:r>
              <a:rPr lang="fi-FI" noProof="0" dirty="0"/>
              <a:t>Third </a:t>
            </a:r>
            <a:r>
              <a:rPr lang="fi-FI" noProof="0" dirty="0" err="1"/>
              <a:t>level</a:t>
            </a:r>
            <a:endParaRPr lang="fi-FI" noProof="0" dirty="0"/>
          </a:p>
          <a:p>
            <a:pPr lvl="3"/>
            <a:r>
              <a:rPr lang="fi-FI" noProof="0" dirty="0" err="1"/>
              <a:t>Fourth</a:t>
            </a:r>
            <a:r>
              <a:rPr lang="fi-FI" noProof="0" dirty="0"/>
              <a:t> </a:t>
            </a:r>
            <a:r>
              <a:rPr lang="fi-FI" noProof="0" dirty="0" err="1"/>
              <a:t>level</a:t>
            </a:r>
            <a:endParaRPr lang="fi-FI" noProof="0" dirty="0"/>
          </a:p>
          <a:p>
            <a:pPr lvl="4"/>
            <a:r>
              <a:rPr lang="fi-FI" noProof="0" dirty="0" err="1"/>
              <a:t>Fifth</a:t>
            </a:r>
            <a:r>
              <a:rPr lang="fi-FI" noProof="0" dirty="0"/>
              <a:t> </a:t>
            </a:r>
            <a:r>
              <a:rPr lang="fi-FI" noProof="0" dirty="0" err="1"/>
              <a:t>level</a:t>
            </a:r>
            <a:endParaRPr lang="en-US" noProof="0" dirty="0"/>
          </a:p>
        </p:txBody>
      </p:sp>
      <p:sp>
        <p:nvSpPr>
          <p:cNvPr id="11" name="Text Placeholder 2"/>
          <p:cNvSpPr>
            <a:spLocks noGrp="1"/>
          </p:cNvSpPr>
          <p:nvPr>
            <p:ph idx="13" hasCustomPrompt="1"/>
          </p:nvPr>
        </p:nvSpPr>
        <p:spPr bwMode="auto">
          <a:xfrm>
            <a:off x="6480043" y="2204865"/>
            <a:ext cx="5280587" cy="3888432"/>
          </a:xfrm>
          <a:prstGeom prst="rect">
            <a:avLst/>
          </a:prstGeom>
          <a:noFill/>
          <a:ln w="9525">
            <a:noFill/>
            <a:miter lim="800000"/>
            <a:headEnd/>
            <a:tailEnd/>
          </a:ln>
        </p:spPr>
        <p:txBody>
          <a:bodyPr lIns="91440" tIns="45720" rIns="91440" bIns="45720"/>
          <a:lstStyle>
            <a:lvl1pPr marL="342900" indent="-250825">
              <a:lnSpc>
                <a:spcPct val="80000"/>
              </a:lnSpc>
              <a:buClr>
                <a:schemeClr val="tx1"/>
              </a:buClr>
              <a:buFont typeface="Arial"/>
              <a:buChar char="•"/>
              <a:defRPr>
                <a:latin typeface="+mn-lt"/>
                <a:cs typeface="Gotham Narrow Book"/>
              </a:defRPr>
            </a:lvl1pPr>
            <a:lvl2pPr marL="725488" indent="-342900">
              <a:lnSpc>
                <a:spcPct val="80000"/>
              </a:lnSpc>
              <a:buFont typeface="Arial"/>
              <a:buChar char="•"/>
              <a:defRPr>
                <a:latin typeface="+mn-lt"/>
                <a:cs typeface="Gotham Narrow Book"/>
              </a:defRPr>
            </a:lvl2pPr>
            <a:lvl3pPr>
              <a:lnSpc>
                <a:spcPct val="80000"/>
              </a:lnSpc>
              <a:defRPr>
                <a:latin typeface="+mn-lt"/>
                <a:cs typeface="Gotham Narrow Book"/>
              </a:defRPr>
            </a:lvl3pPr>
            <a:lvl4pPr>
              <a:lnSpc>
                <a:spcPct val="80000"/>
              </a:lnSpc>
              <a:defRPr>
                <a:latin typeface="+mn-lt"/>
                <a:cs typeface="Gotham Narrow Book"/>
              </a:defRPr>
            </a:lvl4pPr>
            <a:lvl5pPr>
              <a:lnSpc>
                <a:spcPct val="80000"/>
              </a:lnSpc>
              <a:defRPr>
                <a:latin typeface="+mn-lt"/>
                <a:cs typeface="Gotham Narrow Book"/>
              </a:defRPr>
            </a:lvl5pPr>
          </a:lstStyle>
          <a:p>
            <a:pPr lvl="0"/>
            <a:r>
              <a:rPr lang="fi-FI" noProof="0" dirty="0" err="1"/>
              <a:t>Click</a:t>
            </a:r>
            <a:r>
              <a:rPr lang="fi-FI" noProof="0" dirty="0"/>
              <a:t> to </a:t>
            </a:r>
            <a:r>
              <a:rPr lang="fi-FI" noProof="0" dirty="0" err="1"/>
              <a:t>add</a:t>
            </a:r>
            <a:r>
              <a:rPr lang="fi-FI" noProof="0" dirty="0"/>
              <a:t> </a:t>
            </a:r>
            <a:r>
              <a:rPr lang="fi-FI" noProof="0" dirty="0" err="1"/>
              <a:t>text</a:t>
            </a:r>
            <a:endParaRPr lang="fi-FI" noProof="0" dirty="0"/>
          </a:p>
          <a:p>
            <a:pPr lvl="1"/>
            <a:r>
              <a:rPr lang="fi-FI" noProof="0" dirty="0"/>
              <a:t>Second </a:t>
            </a:r>
            <a:r>
              <a:rPr lang="fi-FI" noProof="0" dirty="0" err="1"/>
              <a:t>level</a:t>
            </a:r>
            <a:endParaRPr lang="fi-FI" noProof="0" dirty="0"/>
          </a:p>
          <a:p>
            <a:pPr lvl="2"/>
            <a:r>
              <a:rPr lang="fi-FI" noProof="0" dirty="0"/>
              <a:t>Third </a:t>
            </a:r>
            <a:r>
              <a:rPr lang="fi-FI" noProof="0" dirty="0" err="1"/>
              <a:t>level</a:t>
            </a:r>
            <a:endParaRPr lang="fi-FI" noProof="0" dirty="0"/>
          </a:p>
          <a:p>
            <a:pPr lvl="3"/>
            <a:r>
              <a:rPr lang="fi-FI" noProof="0" dirty="0" err="1"/>
              <a:t>Fourth</a:t>
            </a:r>
            <a:r>
              <a:rPr lang="fi-FI" noProof="0" dirty="0"/>
              <a:t> </a:t>
            </a:r>
            <a:r>
              <a:rPr lang="fi-FI" noProof="0" dirty="0" err="1"/>
              <a:t>level</a:t>
            </a:r>
            <a:endParaRPr lang="fi-FI" noProof="0" dirty="0"/>
          </a:p>
          <a:p>
            <a:pPr lvl="4"/>
            <a:r>
              <a:rPr lang="fi-FI" noProof="0" dirty="0" err="1"/>
              <a:t>Fifth</a:t>
            </a:r>
            <a:r>
              <a:rPr lang="fi-FI" noProof="0" dirty="0"/>
              <a:t> </a:t>
            </a:r>
            <a:r>
              <a:rPr lang="fi-FI" noProof="0" dirty="0" err="1"/>
              <a:t>level</a:t>
            </a:r>
            <a:endParaRPr lang="en-US" noProof="0" dirty="0"/>
          </a:p>
        </p:txBody>
      </p:sp>
      <p:sp>
        <p:nvSpPr>
          <p:cNvPr id="2" name="Päivämäärän paikkamerkki 1"/>
          <p:cNvSpPr>
            <a:spLocks noGrp="1"/>
          </p:cNvSpPr>
          <p:nvPr>
            <p:ph type="dt" sz="half" idx="14"/>
          </p:nvPr>
        </p:nvSpPr>
        <p:spPr/>
        <p:txBody>
          <a:bodyPr/>
          <a:lstStyle/>
          <a:p>
            <a:pPr>
              <a:defRPr/>
            </a:pPr>
            <a:fld id="{86F0238F-2308-4A48-B2E1-00FCB2BFEC78}" type="datetime1">
              <a:rPr lang="en-GB" smtClean="0"/>
              <a:t>22/08/2025</a:t>
            </a:fld>
            <a:endParaRPr lang="fi-FI" dirty="0"/>
          </a:p>
        </p:txBody>
      </p:sp>
      <p:sp>
        <p:nvSpPr>
          <p:cNvPr id="4" name="Alatunnisteen paikkamerkki 3"/>
          <p:cNvSpPr>
            <a:spLocks noGrp="1"/>
          </p:cNvSpPr>
          <p:nvPr>
            <p:ph type="ftr" sz="quarter" idx="15"/>
          </p:nvPr>
        </p:nvSpPr>
        <p:spPr/>
        <p:txBody>
          <a:bodyPr/>
          <a:lstStyle/>
          <a:p>
            <a:r>
              <a:rPr lang="fi-FI"/>
              <a:t>Presentation Name / Firstname Lastname</a:t>
            </a:r>
            <a:endParaRPr lang="fi-FI" dirty="0"/>
          </a:p>
        </p:txBody>
      </p:sp>
      <p:sp>
        <p:nvSpPr>
          <p:cNvPr id="7" name="Dian numeron paikkamerkki 6"/>
          <p:cNvSpPr>
            <a:spLocks noGrp="1"/>
          </p:cNvSpPr>
          <p:nvPr>
            <p:ph type="sldNum" sz="quarter" idx="16"/>
          </p:nvPr>
        </p:nvSpPr>
        <p:spPr/>
        <p:txBody>
          <a:bodyPr/>
          <a:lstStyle/>
          <a:p>
            <a:pPr>
              <a:defRPr/>
            </a:pPr>
            <a:fld id="{4669315E-5A66-CF44-AE5D-C333B2F730C4}" type="slidenum">
              <a:rPr lang="en-GB" smtClean="0"/>
              <a:pPr>
                <a:defRPr/>
              </a:pPr>
              <a:t>‹#›</a:t>
            </a:fld>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56515353"/>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12" name="Picture Placeholder 2"/>
          <p:cNvSpPr>
            <a:spLocks noGrp="1"/>
          </p:cNvSpPr>
          <p:nvPr>
            <p:ph type="pic" sz="quarter" idx="13" hasCustomPrompt="1"/>
          </p:nvPr>
        </p:nvSpPr>
        <p:spPr>
          <a:xfrm>
            <a:off x="338667" y="255600"/>
            <a:ext cx="11514667" cy="5905500"/>
          </a:xfrm>
          <a:solidFill>
            <a:srgbClr val="7F7F7F"/>
          </a:solidFill>
        </p:spPr>
        <p:txBody>
          <a:bodyPr anchor="ctr"/>
          <a:lstStyle>
            <a:lvl1pPr algn="ctr">
              <a:defRPr b="0" i="0">
                <a:latin typeface="+mj-lt"/>
                <a:cs typeface="Gotham-Bold"/>
              </a:defRPr>
            </a:lvl1pPr>
          </a:lstStyle>
          <a:p>
            <a:r>
              <a:rPr lang="en-US" dirty="0"/>
              <a:t>Click icon to add picture</a:t>
            </a:r>
          </a:p>
        </p:txBody>
      </p:sp>
      <p:sp>
        <p:nvSpPr>
          <p:cNvPr id="2" name="Päivämäärän paikkamerkki 1"/>
          <p:cNvSpPr>
            <a:spLocks noGrp="1"/>
          </p:cNvSpPr>
          <p:nvPr>
            <p:ph type="dt" sz="half" idx="14"/>
          </p:nvPr>
        </p:nvSpPr>
        <p:spPr/>
        <p:txBody>
          <a:bodyPr/>
          <a:lstStyle/>
          <a:p>
            <a:pPr>
              <a:defRPr/>
            </a:pPr>
            <a:fld id="{D785DCF2-BC03-4AAE-A835-57E4F208A97E}" type="datetime1">
              <a:rPr lang="en-GB" smtClean="0"/>
              <a:t>22/08/2025</a:t>
            </a:fld>
            <a:endParaRPr lang="fi-FI" dirty="0"/>
          </a:p>
        </p:txBody>
      </p:sp>
      <p:sp>
        <p:nvSpPr>
          <p:cNvPr id="6" name="Alatunnisteen paikkamerkki 5"/>
          <p:cNvSpPr>
            <a:spLocks noGrp="1"/>
          </p:cNvSpPr>
          <p:nvPr>
            <p:ph type="ftr" sz="quarter" idx="15"/>
          </p:nvPr>
        </p:nvSpPr>
        <p:spPr/>
        <p:txBody>
          <a:bodyPr/>
          <a:lstStyle/>
          <a:p>
            <a:r>
              <a:rPr lang="fi-FI"/>
              <a:t>Presentation Name / Firstname Lastname</a:t>
            </a:r>
            <a:endParaRPr lang="fi-FI" dirty="0"/>
          </a:p>
        </p:txBody>
      </p:sp>
      <p:sp>
        <p:nvSpPr>
          <p:cNvPr id="7" name="Dian numeron paikkamerkki 6"/>
          <p:cNvSpPr>
            <a:spLocks noGrp="1"/>
          </p:cNvSpPr>
          <p:nvPr>
            <p:ph type="sldNum" sz="quarter" idx="16"/>
          </p:nvPr>
        </p:nvSpPr>
        <p:spPr/>
        <p:txBody>
          <a:bodyPr/>
          <a:lstStyle/>
          <a:p>
            <a:pPr>
              <a:defRPr/>
            </a:pPr>
            <a:fld id="{4669315E-5A66-CF44-AE5D-C333B2F730C4}" type="slidenum">
              <a:rPr lang="en-GB" smtClean="0"/>
              <a:pPr>
                <a:defRPr/>
              </a:pPr>
              <a:t>‹#›</a:t>
            </a:fld>
            <a:endParaRPr lang="en-GB" dirty="0"/>
          </a:p>
        </p:txBody>
      </p:sp>
      <p:sp>
        <p:nvSpPr>
          <p:cNvPr id="15" name="Title Placeholder 1"/>
          <p:cNvSpPr>
            <a:spLocks noGrp="1"/>
          </p:cNvSpPr>
          <p:nvPr>
            <p:ph type="ctrTitle" hasCustomPrompt="1"/>
          </p:nvPr>
        </p:nvSpPr>
        <p:spPr>
          <a:xfrm>
            <a:off x="914400" y="2708920"/>
            <a:ext cx="10363200" cy="1296144"/>
          </a:xfrm>
        </p:spPr>
        <p:txBody>
          <a:bodyPr anchor="ctr" anchorCtr="0"/>
          <a:lstStyle>
            <a:lvl1pPr algn="ctr">
              <a:lnSpc>
                <a:spcPct val="70000"/>
              </a:lnSpc>
              <a:defRPr sz="3600">
                <a:latin typeface="+mj-lt"/>
                <a:ea typeface="ＭＳ Ｐゴシック" charset="0"/>
                <a:cs typeface="Gotham Narrow Bold"/>
              </a:defRPr>
            </a:lvl1pPr>
          </a:lstStyle>
          <a:p>
            <a:pPr lvl="0"/>
            <a:r>
              <a:rPr lang="fi-FI" noProof="0" dirty="0"/>
              <a:t>CLICK TO ADD TEXT</a:t>
            </a:r>
          </a:p>
        </p:txBody>
      </p:sp>
      <p:grpSp>
        <p:nvGrpSpPr>
          <p:cNvPr id="16" name="Ryhmä 15"/>
          <p:cNvGrpSpPr/>
          <p:nvPr userDrawn="1"/>
        </p:nvGrpSpPr>
        <p:grpSpPr bwMode="black">
          <a:xfrm>
            <a:off x="334478" y="255600"/>
            <a:ext cx="1397690" cy="1309952"/>
            <a:chOff x="1311275" y="373063"/>
            <a:chExt cx="6524625" cy="6115050"/>
          </a:xfrm>
          <a:solidFill>
            <a:srgbClr val="FFFFFF"/>
          </a:solidFill>
        </p:grpSpPr>
        <p:sp>
          <p:nvSpPr>
            <p:cNvPr id="17" name="Rectangle 5"/>
            <p:cNvSpPr>
              <a:spLocks noChangeArrowheads="1"/>
            </p:cNvSpPr>
            <p:nvPr userDrawn="1"/>
          </p:nvSpPr>
          <p:spPr bwMode="black">
            <a:xfrm>
              <a:off x="4267200" y="5875338"/>
              <a:ext cx="609600" cy="612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endParaRPr lang="fi-FI"/>
            </a:p>
          </p:txBody>
        </p:sp>
        <p:sp>
          <p:nvSpPr>
            <p:cNvPr id="18" name="Rectangle 6"/>
            <p:cNvSpPr>
              <a:spLocks noChangeArrowheads="1"/>
            </p:cNvSpPr>
            <p:nvPr userDrawn="1"/>
          </p:nvSpPr>
          <p:spPr bwMode="black">
            <a:xfrm>
              <a:off x="4267200" y="373063"/>
              <a:ext cx="609600" cy="609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endParaRPr lang="fi-FI"/>
            </a:p>
          </p:txBody>
        </p:sp>
        <p:sp>
          <p:nvSpPr>
            <p:cNvPr id="19" name="Freeform 7"/>
            <p:cNvSpPr>
              <a:spLocks noEditPoints="1"/>
            </p:cNvSpPr>
            <p:nvPr userDrawn="1"/>
          </p:nvSpPr>
          <p:spPr bwMode="black">
            <a:xfrm>
              <a:off x="1311275" y="1436688"/>
              <a:ext cx="6524625" cy="4152900"/>
            </a:xfrm>
            <a:custGeom>
              <a:avLst/>
              <a:gdLst>
                <a:gd name="T0" fmla="*/ 3947 w 4110"/>
                <a:gd name="T1" fmla="*/ 1670 h 2616"/>
                <a:gd name="T2" fmla="*/ 3459 w 4110"/>
                <a:gd name="T3" fmla="*/ 1403 h 2616"/>
                <a:gd name="T4" fmla="*/ 3294 w 4110"/>
                <a:gd name="T5" fmla="*/ 1199 h 2616"/>
                <a:gd name="T6" fmla="*/ 3062 w 4110"/>
                <a:gd name="T7" fmla="*/ 1048 h 2616"/>
                <a:gd name="T8" fmla="*/ 2897 w 4110"/>
                <a:gd name="T9" fmla="*/ 789 h 2616"/>
                <a:gd name="T10" fmla="*/ 2734 w 4110"/>
                <a:gd name="T11" fmla="*/ 314 h 2616"/>
                <a:gd name="T12" fmla="*/ 2417 w 4110"/>
                <a:gd name="T13" fmla="*/ 63 h 2616"/>
                <a:gd name="T14" fmla="*/ 2077 w 4110"/>
                <a:gd name="T15" fmla="*/ 19 h 2616"/>
                <a:gd name="T16" fmla="*/ 2204 w 4110"/>
                <a:gd name="T17" fmla="*/ 197 h 2616"/>
                <a:gd name="T18" fmla="*/ 2175 w 4110"/>
                <a:gd name="T19" fmla="*/ 357 h 2616"/>
                <a:gd name="T20" fmla="*/ 2041 w 4110"/>
                <a:gd name="T21" fmla="*/ 433 h 2616"/>
                <a:gd name="T22" fmla="*/ 1818 w 4110"/>
                <a:gd name="T23" fmla="*/ 362 h 2616"/>
                <a:gd name="T24" fmla="*/ 1518 w 4110"/>
                <a:gd name="T25" fmla="*/ 159 h 2616"/>
                <a:gd name="T26" fmla="*/ 1213 w 4110"/>
                <a:gd name="T27" fmla="*/ 130 h 2616"/>
                <a:gd name="T28" fmla="*/ 1198 w 4110"/>
                <a:gd name="T29" fmla="*/ 209 h 2616"/>
                <a:gd name="T30" fmla="*/ 1401 w 4110"/>
                <a:gd name="T31" fmla="*/ 481 h 2616"/>
                <a:gd name="T32" fmla="*/ 1555 w 4110"/>
                <a:gd name="T33" fmla="*/ 708 h 2616"/>
                <a:gd name="T34" fmla="*/ 1672 w 4110"/>
                <a:gd name="T35" fmla="*/ 796 h 2616"/>
                <a:gd name="T36" fmla="*/ 1405 w 4110"/>
                <a:gd name="T37" fmla="*/ 787 h 2616"/>
                <a:gd name="T38" fmla="*/ 1102 w 4110"/>
                <a:gd name="T39" fmla="*/ 558 h 2616"/>
                <a:gd name="T40" fmla="*/ 821 w 4110"/>
                <a:gd name="T41" fmla="*/ 395 h 2616"/>
                <a:gd name="T42" fmla="*/ 531 w 4110"/>
                <a:gd name="T43" fmla="*/ 426 h 2616"/>
                <a:gd name="T44" fmla="*/ 748 w 4110"/>
                <a:gd name="T45" fmla="*/ 537 h 2616"/>
                <a:gd name="T46" fmla="*/ 762 w 4110"/>
                <a:gd name="T47" fmla="*/ 704 h 2616"/>
                <a:gd name="T48" fmla="*/ 608 w 4110"/>
                <a:gd name="T49" fmla="*/ 689 h 2616"/>
                <a:gd name="T50" fmla="*/ 387 w 4110"/>
                <a:gd name="T51" fmla="*/ 529 h 2616"/>
                <a:gd name="T52" fmla="*/ 103 w 4110"/>
                <a:gd name="T53" fmla="*/ 499 h 2616"/>
                <a:gd name="T54" fmla="*/ 157 w 4110"/>
                <a:gd name="T55" fmla="*/ 597 h 2616"/>
                <a:gd name="T56" fmla="*/ 397 w 4110"/>
                <a:gd name="T57" fmla="*/ 913 h 2616"/>
                <a:gd name="T58" fmla="*/ 578 w 4110"/>
                <a:gd name="T59" fmla="*/ 1190 h 2616"/>
                <a:gd name="T60" fmla="*/ 954 w 4110"/>
                <a:gd name="T61" fmla="*/ 1253 h 2616"/>
                <a:gd name="T62" fmla="*/ 1184 w 4110"/>
                <a:gd name="T63" fmla="*/ 1316 h 2616"/>
                <a:gd name="T64" fmla="*/ 1250 w 4110"/>
                <a:gd name="T65" fmla="*/ 1526 h 2616"/>
                <a:gd name="T66" fmla="*/ 1365 w 4110"/>
                <a:gd name="T67" fmla="*/ 1691 h 2616"/>
                <a:gd name="T68" fmla="*/ 1601 w 4110"/>
                <a:gd name="T69" fmla="*/ 1766 h 2616"/>
                <a:gd name="T70" fmla="*/ 1384 w 4110"/>
                <a:gd name="T71" fmla="*/ 1823 h 2616"/>
                <a:gd name="T72" fmla="*/ 965 w 4110"/>
                <a:gd name="T73" fmla="*/ 1706 h 2616"/>
                <a:gd name="T74" fmla="*/ 971 w 4110"/>
                <a:gd name="T75" fmla="*/ 1890 h 2616"/>
                <a:gd name="T76" fmla="*/ 1173 w 4110"/>
                <a:gd name="T77" fmla="*/ 2136 h 2616"/>
                <a:gd name="T78" fmla="*/ 1534 w 4110"/>
                <a:gd name="T79" fmla="*/ 2226 h 2616"/>
                <a:gd name="T80" fmla="*/ 1883 w 4110"/>
                <a:gd name="T81" fmla="*/ 2182 h 2616"/>
                <a:gd name="T82" fmla="*/ 1985 w 4110"/>
                <a:gd name="T83" fmla="*/ 2299 h 2616"/>
                <a:gd name="T84" fmla="*/ 2154 w 4110"/>
                <a:gd name="T85" fmla="*/ 2418 h 2616"/>
                <a:gd name="T86" fmla="*/ 2476 w 4110"/>
                <a:gd name="T87" fmla="*/ 2413 h 2616"/>
                <a:gd name="T88" fmla="*/ 2797 w 4110"/>
                <a:gd name="T89" fmla="*/ 2585 h 2616"/>
                <a:gd name="T90" fmla="*/ 2803 w 4110"/>
                <a:gd name="T91" fmla="*/ 2395 h 2616"/>
                <a:gd name="T92" fmla="*/ 2594 w 4110"/>
                <a:gd name="T93" fmla="*/ 2119 h 2616"/>
                <a:gd name="T94" fmla="*/ 2403 w 4110"/>
                <a:gd name="T95" fmla="*/ 1960 h 2616"/>
                <a:gd name="T96" fmla="*/ 2426 w 4110"/>
                <a:gd name="T97" fmla="*/ 1890 h 2616"/>
                <a:gd name="T98" fmla="*/ 2663 w 4110"/>
                <a:gd name="T99" fmla="*/ 1996 h 2616"/>
                <a:gd name="T100" fmla="*/ 3012 w 4110"/>
                <a:gd name="T101" fmla="*/ 2088 h 2616"/>
                <a:gd name="T102" fmla="*/ 3156 w 4110"/>
                <a:gd name="T103" fmla="*/ 2125 h 2616"/>
                <a:gd name="T104" fmla="*/ 3035 w 4110"/>
                <a:gd name="T105" fmla="*/ 1900 h 2616"/>
                <a:gd name="T106" fmla="*/ 2837 w 4110"/>
                <a:gd name="T107" fmla="*/ 1698 h 2616"/>
                <a:gd name="T108" fmla="*/ 3185 w 4110"/>
                <a:gd name="T109" fmla="*/ 1746 h 2616"/>
                <a:gd name="T110" fmla="*/ 3440 w 4110"/>
                <a:gd name="T111" fmla="*/ 1741 h 2616"/>
                <a:gd name="T112" fmla="*/ 3596 w 4110"/>
                <a:gd name="T113" fmla="*/ 1842 h 2616"/>
                <a:gd name="T114" fmla="*/ 3951 w 4110"/>
                <a:gd name="T115" fmla="*/ 1816 h 2616"/>
                <a:gd name="T116" fmla="*/ 2246 w 4110"/>
                <a:gd name="T117" fmla="*/ 1449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10" h="2616">
                  <a:moveTo>
                    <a:pt x="4110" y="1887"/>
                  </a:moveTo>
                  <a:lnTo>
                    <a:pt x="4095" y="1858"/>
                  </a:lnTo>
                  <a:lnTo>
                    <a:pt x="4080" y="1829"/>
                  </a:lnTo>
                  <a:lnTo>
                    <a:pt x="4062" y="1802"/>
                  </a:lnTo>
                  <a:lnTo>
                    <a:pt x="4045" y="1777"/>
                  </a:lnTo>
                  <a:lnTo>
                    <a:pt x="4028" y="1754"/>
                  </a:lnTo>
                  <a:lnTo>
                    <a:pt x="4009" y="1731"/>
                  </a:lnTo>
                  <a:lnTo>
                    <a:pt x="3989" y="1710"/>
                  </a:lnTo>
                  <a:lnTo>
                    <a:pt x="3968" y="1689"/>
                  </a:lnTo>
                  <a:lnTo>
                    <a:pt x="3947" y="1670"/>
                  </a:lnTo>
                  <a:lnTo>
                    <a:pt x="3926" y="1652"/>
                  </a:lnTo>
                  <a:lnTo>
                    <a:pt x="3903" y="1635"/>
                  </a:lnTo>
                  <a:lnTo>
                    <a:pt x="3882" y="1618"/>
                  </a:lnTo>
                  <a:lnTo>
                    <a:pt x="3834" y="1589"/>
                  </a:lnTo>
                  <a:lnTo>
                    <a:pt x="3788" y="1560"/>
                  </a:lnTo>
                  <a:lnTo>
                    <a:pt x="3690" y="1512"/>
                  </a:lnTo>
                  <a:lnTo>
                    <a:pt x="3594" y="1468"/>
                  </a:lnTo>
                  <a:lnTo>
                    <a:pt x="3548" y="1447"/>
                  </a:lnTo>
                  <a:lnTo>
                    <a:pt x="3504" y="1426"/>
                  </a:lnTo>
                  <a:lnTo>
                    <a:pt x="3459" y="1403"/>
                  </a:lnTo>
                  <a:lnTo>
                    <a:pt x="3419" y="1378"/>
                  </a:lnTo>
                  <a:lnTo>
                    <a:pt x="3402" y="1364"/>
                  </a:lnTo>
                  <a:lnTo>
                    <a:pt x="3385" y="1351"/>
                  </a:lnTo>
                  <a:lnTo>
                    <a:pt x="3369" y="1336"/>
                  </a:lnTo>
                  <a:lnTo>
                    <a:pt x="3356" y="1318"/>
                  </a:lnTo>
                  <a:lnTo>
                    <a:pt x="3342" y="1299"/>
                  </a:lnTo>
                  <a:lnTo>
                    <a:pt x="3331" y="1282"/>
                  </a:lnTo>
                  <a:lnTo>
                    <a:pt x="3319" y="1263"/>
                  </a:lnTo>
                  <a:lnTo>
                    <a:pt x="3310" y="1242"/>
                  </a:lnTo>
                  <a:lnTo>
                    <a:pt x="3294" y="1199"/>
                  </a:lnTo>
                  <a:lnTo>
                    <a:pt x="3281" y="1157"/>
                  </a:lnTo>
                  <a:lnTo>
                    <a:pt x="3271" y="1115"/>
                  </a:lnTo>
                  <a:lnTo>
                    <a:pt x="3264" y="1073"/>
                  </a:lnTo>
                  <a:lnTo>
                    <a:pt x="3223" y="1076"/>
                  </a:lnTo>
                  <a:lnTo>
                    <a:pt x="3179" y="1076"/>
                  </a:lnTo>
                  <a:lnTo>
                    <a:pt x="3156" y="1075"/>
                  </a:lnTo>
                  <a:lnTo>
                    <a:pt x="3133" y="1071"/>
                  </a:lnTo>
                  <a:lnTo>
                    <a:pt x="3110" y="1065"/>
                  </a:lnTo>
                  <a:lnTo>
                    <a:pt x="3087" y="1057"/>
                  </a:lnTo>
                  <a:lnTo>
                    <a:pt x="3062" y="1048"/>
                  </a:lnTo>
                  <a:lnTo>
                    <a:pt x="3039" y="1034"/>
                  </a:lnTo>
                  <a:lnTo>
                    <a:pt x="3018" y="1019"/>
                  </a:lnTo>
                  <a:lnTo>
                    <a:pt x="2997" y="1000"/>
                  </a:lnTo>
                  <a:lnTo>
                    <a:pt x="2976" y="979"/>
                  </a:lnTo>
                  <a:lnTo>
                    <a:pt x="2956" y="952"/>
                  </a:lnTo>
                  <a:lnTo>
                    <a:pt x="2939" y="921"/>
                  </a:lnTo>
                  <a:lnTo>
                    <a:pt x="2924" y="886"/>
                  </a:lnTo>
                  <a:lnTo>
                    <a:pt x="2912" y="856"/>
                  </a:lnTo>
                  <a:lnTo>
                    <a:pt x="2905" y="823"/>
                  </a:lnTo>
                  <a:lnTo>
                    <a:pt x="2897" y="789"/>
                  </a:lnTo>
                  <a:lnTo>
                    <a:pt x="2889" y="752"/>
                  </a:lnTo>
                  <a:lnTo>
                    <a:pt x="2874" y="675"/>
                  </a:lnTo>
                  <a:lnTo>
                    <a:pt x="2857" y="593"/>
                  </a:lnTo>
                  <a:lnTo>
                    <a:pt x="2845" y="550"/>
                  </a:lnTo>
                  <a:lnTo>
                    <a:pt x="2834" y="508"/>
                  </a:lnTo>
                  <a:lnTo>
                    <a:pt x="2816" y="464"/>
                  </a:lnTo>
                  <a:lnTo>
                    <a:pt x="2797" y="422"/>
                  </a:lnTo>
                  <a:lnTo>
                    <a:pt x="2776" y="378"/>
                  </a:lnTo>
                  <a:lnTo>
                    <a:pt x="2749" y="335"/>
                  </a:lnTo>
                  <a:lnTo>
                    <a:pt x="2734" y="314"/>
                  </a:lnTo>
                  <a:lnTo>
                    <a:pt x="2718" y="293"/>
                  </a:lnTo>
                  <a:lnTo>
                    <a:pt x="2701" y="272"/>
                  </a:lnTo>
                  <a:lnTo>
                    <a:pt x="2682" y="251"/>
                  </a:lnTo>
                  <a:lnTo>
                    <a:pt x="2647" y="216"/>
                  </a:lnTo>
                  <a:lnTo>
                    <a:pt x="2611" y="184"/>
                  </a:lnTo>
                  <a:lnTo>
                    <a:pt x="2572" y="153"/>
                  </a:lnTo>
                  <a:lnTo>
                    <a:pt x="2534" y="126"/>
                  </a:lnTo>
                  <a:lnTo>
                    <a:pt x="2496" y="101"/>
                  </a:lnTo>
                  <a:lnTo>
                    <a:pt x="2457" y="80"/>
                  </a:lnTo>
                  <a:lnTo>
                    <a:pt x="2417" y="63"/>
                  </a:lnTo>
                  <a:lnTo>
                    <a:pt x="2377" y="46"/>
                  </a:lnTo>
                  <a:lnTo>
                    <a:pt x="2336" y="32"/>
                  </a:lnTo>
                  <a:lnTo>
                    <a:pt x="2296" y="21"/>
                  </a:lnTo>
                  <a:lnTo>
                    <a:pt x="2256" y="13"/>
                  </a:lnTo>
                  <a:lnTo>
                    <a:pt x="2215" y="5"/>
                  </a:lnTo>
                  <a:lnTo>
                    <a:pt x="2175" y="1"/>
                  </a:lnTo>
                  <a:lnTo>
                    <a:pt x="2135" y="0"/>
                  </a:lnTo>
                  <a:lnTo>
                    <a:pt x="2094" y="0"/>
                  </a:lnTo>
                  <a:lnTo>
                    <a:pt x="2054" y="1"/>
                  </a:lnTo>
                  <a:lnTo>
                    <a:pt x="2077" y="19"/>
                  </a:lnTo>
                  <a:lnTo>
                    <a:pt x="2098" y="34"/>
                  </a:lnTo>
                  <a:lnTo>
                    <a:pt x="2117" y="51"/>
                  </a:lnTo>
                  <a:lnTo>
                    <a:pt x="2135" y="71"/>
                  </a:lnTo>
                  <a:lnTo>
                    <a:pt x="2150" y="88"/>
                  </a:lnTo>
                  <a:lnTo>
                    <a:pt x="2163" y="105"/>
                  </a:lnTo>
                  <a:lnTo>
                    <a:pt x="2175" y="124"/>
                  </a:lnTo>
                  <a:lnTo>
                    <a:pt x="2185" y="142"/>
                  </a:lnTo>
                  <a:lnTo>
                    <a:pt x="2192" y="161"/>
                  </a:lnTo>
                  <a:lnTo>
                    <a:pt x="2200" y="178"/>
                  </a:lnTo>
                  <a:lnTo>
                    <a:pt x="2204" y="197"/>
                  </a:lnTo>
                  <a:lnTo>
                    <a:pt x="2208" y="215"/>
                  </a:lnTo>
                  <a:lnTo>
                    <a:pt x="2210" y="232"/>
                  </a:lnTo>
                  <a:lnTo>
                    <a:pt x="2210" y="249"/>
                  </a:lnTo>
                  <a:lnTo>
                    <a:pt x="2208" y="266"/>
                  </a:lnTo>
                  <a:lnTo>
                    <a:pt x="2206" y="284"/>
                  </a:lnTo>
                  <a:lnTo>
                    <a:pt x="2202" y="299"/>
                  </a:lnTo>
                  <a:lnTo>
                    <a:pt x="2198" y="314"/>
                  </a:lnTo>
                  <a:lnTo>
                    <a:pt x="2190" y="330"/>
                  </a:lnTo>
                  <a:lnTo>
                    <a:pt x="2183" y="343"/>
                  </a:lnTo>
                  <a:lnTo>
                    <a:pt x="2175" y="357"/>
                  </a:lnTo>
                  <a:lnTo>
                    <a:pt x="2165" y="370"/>
                  </a:lnTo>
                  <a:lnTo>
                    <a:pt x="2156" y="382"/>
                  </a:lnTo>
                  <a:lnTo>
                    <a:pt x="2144" y="391"/>
                  </a:lnTo>
                  <a:lnTo>
                    <a:pt x="2131" y="401"/>
                  </a:lnTo>
                  <a:lnTo>
                    <a:pt x="2117" y="410"/>
                  </a:lnTo>
                  <a:lnTo>
                    <a:pt x="2104" y="418"/>
                  </a:lnTo>
                  <a:lnTo>
                    <a:pt x="2089" y="424"/>
                  </a:lnTo>
                  <a:lnTo>
                    <a:pt x="2073" y="428"/>
                  </a:lnTo>
                  <a:lnTo>
                    <a:pt x="2058" y="431"/>
                  </a:lnTo>
                  <a:lnTo>
                    <a:pt x="2041" y="433"/>
                  </a:lnTo>
                  <a:lnTo>
                    <a:pt x="2023" y="435"/>
                  </a:lnTo>
                  <a:lnTo>
                    <a:pt x="1998" y="433"/>
                  </a:lnTo>
                  <a:lnTo>
                    <a:pt x="1975" y="431"/>
                  </a:lnTo>
                  <a:lnTo>
                    <a:pt x="1954" y="428"/>
                  </a:lnTo>
                  <a:lnTo>
                    <a:pt x="1933" y="422"/>
                  </a:lnTo>
                  <a:lnTo>
                    <a:pt x="1912" y="414"/>
                  </a:lnTo>
                  <a:lnTo>
                    <a:pt x="1893" y="407"/>
                  </a:lnTo>
                  <a:lnTo>
                    <a:pt x="1874" y="397"/>
                  </a:lnTo>
                  <a:lnTo>
                    <a:pt x="1854" y="385"/>
                  </a:lnTo>
                  <a:lnTo>
                    <a:pt x="1818" y="362"/>
                  </a:lnTo>
                  <a:lnTo>
                    <a:pt x="1781" y="335"/>
                  </a:lnTo>
                  <a:lnTo>
                    <a:pt x="1747" y="307"/>
                  </a:lnTo>
                  <a:lnTo>
                    <a:pt x="1710" y="278"/>
                  </a:lnTo>
                  <a:lnTo>
                    <a:pt x="1672" y="247"/>
                  </a:lnTo>
                  <a:lnTo>
                    <a:pt x="1632" y="220"/>
                  </a:lnTo>
                  <a:lnTo>
                    <a:pt x="1610" y="207"/>
                  </a:lnTo>
                  <a:lnTo>
                    <a:pt x="1589" y="193"/>
                  </a:lnTo>
                  <a:lnTo>
                    <a:pt x="1566" y="180"/>
                  </a:lnTo>
                  <a:lnTo>
                    <a:pt x="1543" y="168"/>
                  </a:lnTo>
                  <a:lnTo>
                    <a:pt x="1518" y="159"/>
                  </a:lnTo>
                  <a:lnTo>
                    <a:pt x="1491" y="149"/>
                  </a:lnTo>
                  <a:lnTo>
                    <a:pt x="1465" y="142"/>
                  </a:lnTo>
                  <a:lnTo>
                    <a:pt x="1436" y="134"/>
                  </a:lnTo>
                  <a:lnTo>
                    <a:pt x="1405" y="128"/>
                  </a:lnTo>
                  <a:lnTo>
                    <a:pt x="1374" y="124"/>
                  </a:lnTo>
                  <a:lnTo>
                    <a:pt x="1342" y="120"/>
                  </a:lnTo>
                  <a:lnTo>
                    <a:pt x="1305" y="120"/>
                  </a:lnTo>
                  <a:lnTo>
                    <a:pt x="1273" y="120"/>
                  </a:lnTo>
                  <a:lnTo>
                    <a:pt x="1242" y="124"/>
                  </a:lnTo>
                  <a:lnTo>
                    <a:pt x="1213" y="130"/>
                  </a:lnTo>
                  <a:lnTo>
                    <a:pt x="1184" y="138"/>
                  </a:lnTo>
                  <a:lnTo>
                    <a:pt x="1159" y="147"/>
                  </a:lnTo>
                  <a:lnTo>
                    <a:pt x="1134" y="157"/>
                  </a:lnTo>
                  <a:lnTo>
                    <a:pt x="1113" y="168"/>
                  </a:lnTo>
                  <a:lnTo>
                    <a:pt x="1092" y="180"/>
                  </a:lnTo>
                  <a:lnTo>
                    <a:pt x="1113" y="182"/>
                  </a:lnTo>
                  <a:lnTo>
                    <a:pt x="1130" y="186"/>
                  </a:lnTo>
                  <a:lnTo>
                    <a:pt x="1150" y="192"/>
                  </a:lnTo>
                  <a:lnTo>
                    <a:pt x="1167" y="195"/>
                  </a:lnTo>
                  <a:lnTo>
                    <a:pt x="1198" y="209"/>
                  </a:lnTo>
                  <a:lnTo>
                    <a:pt x="1226" y="224"/>
                  </a:lnTo>
                  <a:lnTo>
                    <a:pt x="1251" y="243"/>
                  </a:lnTo>
                  <a:lnTo>
                    <a:pt x="1274" y="264"/>
                  </a:lnTo>
                  <a:lnTo>
                    <a:pt x="1296" y="286"/>
                  </a:lnTo>
                  <a:lnTo>
                    <a:pt x="1315" y="311"/>
                  </a:lnTo>
                  <a:lnTo>
                    <a:pt x="1332" y="337"/>
                  </a:lnTo>
                  <a:lnTo>
                    <a:pt x="1347" y="364"/>
                  </a:lnTo>
                  <a:lnTo>
                    <a:pt x="1363" y="391"/>
                  </a:lnTo>
                  <a:lnTo>
                    <a:pt x="1376" y="422"/>
                  </a:lnTo>
                  <a:lnTo>
                    <a:pt x="1401" y="481"/>
                  </a:lnTo>
                  <a:lnTo>
                    <a:pt x="1426" y="541"/>
                  </a:lnTo>
                  <a:lnTo>
                    <a:pt x="1436" y="564"/>
                  </a:lnTo>
                  <a:lnTo>
                    <a:pt x="1447" y="585"/>
                  </a:lnTo>
                  <a:lnTo>
                    <a:pt x="1461" y="606"/>
                  </a:lnTo>
                  <a:lnTo>
                    <a:pt x="1474" y="625"/>
                  </a:lnTo>
                  <a:lnTo>
                    <a:pt x="1488" y="645"/>
                  </a:lnTo>
                  <a:lnTo>
                    <a:pt x="1503" y="662"/>
                  </a:lnTo>
                  <a:lnTo>
                    <a:pt x="1520" y="677"/>
                  </a:lnTo>
                  <a:lnTo>
                    <a:pt x="1538" y="693"/>
                  </a:lnTo>
                  <a:lnTo>
                    <a:pt x="1555" y="708"/>
                  </a:lnTo>
                  <a:lnTo>
                    <a:pt x="1576" y="721"/>
                  </a:lnTo>
                  <a:lnTo>
                    <a:pt x="1595" y="733"/>
                  </a:lnTo>
                  <a:lnTo>
                    <a:pt x="1616" y="744"/>
                  </a:lnTo>
                  <a:lnTo>
                    <a:pt x="1639" y="754"/>
                  </a:lnTo>
                  <a:lnTo>
                    <a:pt x="1662" y="764"/>
                  </a:lnTo>
                  <a:lnTo>
                    <a:pt x="1687" y="771"/>
                  </a:lnTo>
                  <a:lnTo>
                    <a:pt x="1714" y="779"/>
                  </a:lnTo>
                  <a:lnTo>
                    <a:pt x="1703" y="785"/>
                  </a:lnTo>
                  <a:lnTo>
                    <a:pt x="1687" y="790"/>
                  </a:lnTo>
                  <a:lnTo>
                    <a:pt x="1672" y="796"/>
                  </a:lnTo>
                  <a:lnTo>
                    <a:pt x="1651" y="802"/>
                  </a:lnTo>
                  <a:lnTo>
                    <a:pt x="1630" y="806"/>
                  </a:lnTo>
                  <a:lnTo>
                    <a:pt x="1605" y="810"/>
                  </a:lnTo>
                  <a:lnTo>
                    <a:pt x="1578" y="812"/>
                  </a:lnTo>
                  <a:lnTo>
                    <a:pt x="1551" y="812"/>
                  </a:lnTo>
                  <a:lnTo>
                    <a:pt x="1518" y="812"/>
                  </a:lnTo>
                  <a:lnTo>
                    <a:pt x="1490" y="808"/>
                  </a:lnTo>
                  <a:lnTo>
                    <a:pt x="1461" y="802"/>
                  </a:lnTo>
                  <a:lnTo>
                    <a:pt x="1432" y="796"/>
                  </a:lnTo>
                  <a:lnTo>
                    <a:pt x="1405" y="787"/>
                  </a:lnTo>
                  <a:lnTo>
                    <a:pt x="1378" y="777"/>
                  </a:lnTo>
                  <a:lnTo>
                    <a:pt x="1353" y="765"/>
                  </a:lnTo>
                  <a:lnTo>
                    <a:pt x="1328" y="752"/>
                  </a:lnTo>
                  <a:lnTo>
                    <a:pt x="1303" y="737"/>
                  </a:lnTo>
                  <a:lnTo>
                    <a:pt x="1280" y="721"/>
                  </a:lnTo>
                  <a:lnTo>
                    <a:pt x="1257" y="702"/>
                  </a:lnTo>
                  <a:lnTo>
                    <a:pt x="1234" y="685"/>
                  </a:lnTo>
                  <a:lnTo>
                    <a:pt x="1188" y="643"/>
                  </a:lnTo>
                  <a:lnTo>
                    <a:pt x="1142" y="598"/>
                  </a:lnTo>
                  <a:lnTo>
                    <a:pt x="1102" y="558"/>
                  </a:lnTo>
                  <a:lnTo>
                    <a:pt x="1059" y="518"/>
                  </a:lnTo>
                  <a:lnTo>
                    <a:pt x="1036" y="501"/>
                  </a:lnTo>
                  <a:lnTo>
                    <a:pt x="1013" y="483"/>
                  </a:lnTo>
                  <a:lnTo>
                    <a:pt x="990" y="466"/>
                  </a:lnTo>
                  <a:lnTo>
                    <a:pt x="965" y="451"/>
                  </a:lnTo>
                  <a:lnTo>
                    <a:pt x="938" y="435"/>
                  </a:lnTo>
                  <a:lnTo>
                    <a:pt x="912" y="424"/>
                  </a:lnTo>
                  <a:lnTo>
                    <a:pt x="883" y="412"/>
                  </a:lnTo>
                  <a:lnTo>
                    <a:pt x="854" y="403"/>
                  </a:lnTo>
                  <a:lnTo>
                    <a:pt x="821" y="395"/>
                  </a:lnTo>
                  <a:lnTo>
                    <a:pt x="789" y="389"/>
                  </a:lnTo>
                  <a:lnTo>
                    <a:pt x="754" y="385"/>
                  </a:lnTo>
                  <a:lnTo>
                    <a:pt x="718" y="385"/>
                  </a:lnTo>
                  <a:lnTo>
                    <a:pt x="683" y="385"/>
                  </a:lnTo>
                  <a:lnTo>
                    <a:pt x="649" y="389"/>
                  </a:lnTo>
                  <a:lnTo>
                    <a:pt x="620" y="395"/>
                  </a:lnTo>
                  <a:lnTo>
                    <a:pt x="591" y="403"/>
                  </a:lnTo>
                  <a:lnTo>
                    <a:pt x="568" y="410"/>
                  </a:lnTo>
                  <a:lnTo>
                    <a:pt x="547" y="418"/>
                  </a:lnTo>
                  <a:lnTo>
                    <a:pt x="531" y="426"/>
                  </a:lnTo>
                  <a:lnTo>
                    <a:pt x="520" y="433"/>
                  </a:lnTo>
                  <a:lnTo>
                    <a:pt x="562" y="441"/>
                  </a:lnTo>
                  <a:lnTo>
                    <a:pt x="608" y="455"/>
                  </a:lnTo>
                  <a:lnTo>
                    <a:pt x="631" y="464"/>
                  </a:lnTo>
                  <a:lnTo>
                    <a:pt x="652" y="474"/>
                  </a:lnTo>
                  <a:lnTo>
                    <a:pt x="675" y="483"/>
                  </a:lnTo>
                  <a:lnTo>
                    <a:pt x="695" y="495"/>
                  </a:lnTo>
                  <a:lnTo>
                    <a:pt x="716" y="508"/>
                  </a:lnTo>
                  <a:lnTo>
                    <a:pt x="733" y="522"/>
                  </a:lnTo>
                  <a:lnTo>
                    <a:pt x="748" y="537"/>
                  </a:lnTo>
                  <a:lnTo>
                    <a:pt x="764" y="554"/>
                  </a:lnTo>
                  <a:lnTo>
                    <a:pt x="773" y="572"/>
                  </a:lnTo>
                  <a:lnTo>
                    <a:pt x="783" y="591"/>
                  </a:lnTo>
                  <a:lnTo>
                    <a:pt x="789" y="610"/>
                  </a:lnTo>
                  <a:lnTo>
                    <a:pt x="791" y="631"/>
                  </a:lnTo>
                  <a:lnTo>
                    <a:pt x="789" y="648"/>
                  </a:lnTo>
                  <a:lnTo>
                    <a:pt x="785" y="666"/>
                  </a:lnTo>
                  <a:lnTo>
                    <a:pt x="779" y="679"/>
                  </a:lnTo>
                  <a:lnTo>
                    <a:pt x="771" y="693"/>
                  </a:lnTo>
                  <a:lnTo>
                    <a:pt x="762" y="704"/>
                  </a:lnTo>
                  <a:lnTo>
                    <a:pt x="750" y="714"/>
                  </a:lnTo>
                  <a:lnTo>
                    <a:pt x="739" y="719"/>
                  </a:lnTo>
                  <a:lnTo>
                    <a:pt x="723" y="725"/>
                  </a:lnTo>
                  <a:lnTo>
                    <a:pt x="710" y="727"/>
                  </a:lnTo>
                  <a:lnTo>
                    <a:pt x="693" y="727"/>
                  </a:lnTo>
                  <a:lnTo>
                    <a:pt x="677" y="725"/>
                  </a:lnTo>
                  <a:lnTo>
                    <a:pt x="660" y="721"/>
                  </a:lnTo>
                  <a:lnTo>
                    <a:pt x="643" y="714"/>
                  </a:lnTo>
                  <a:lnTo>
                    <a:pt x="626" y="702"/>
                  </a:lnTo>
                  <a:lnTo>
                    <a:pt x="608" y="689"/>
                  </a:lnTo>
                  <a:lnTo>
                    <a:pt x="591" y="673"/>
                  </a:lnTo>
                  <a:lnTo>
                    <a:pt x="572" y="654"/>
                  </a:lnTo>
                  <a:lnTo>
                    <a:pt x="553" y="635"/>
                  </a:lnTo>
                  <a:lnTo>
                    <a:pt x="531" y="618"/>
                  </a:lnTo>
                  <a:lnTo>
                    <a:pt x="508" y="600"/>
                  </a:lnTo>
                  <a:lnTo>
                    <a:pt x="485" y="583"/>
                  </a:lnTo>
                  <a:lnTo>
                    <a:pt x="462" y="568"/>
                  </a:lnTo>
                  <a:lnTo>
                    <a:pt x="439" y="554"/>
                  </a:lnTo>
                  <a:lnTo>
                    <a:pt x="414" y="541"/>
                  </a:lnTo>
                  <a:lnTo>
                    <a:pt x="387" y="529"/>
                  </a:lnTo>
                  <a:lnTo>
                    <a:pt x="361" y="520"/>
                  </a:lnTo>
                  <a:lnTo>
                    <a:pt x="334" y="510"/>
                  </a:lnTo>
                  <a:lnTo>
                    <a:pt x="307" y="503"/>
                  </a:lnTo>
                  <a:lnTo>
                    <a:pt x="278" y="497"/>
                  </a:lnTo>
                  <a:lnTo>
                    <a:pt x="249" y="491"/>
                  </a:lnTo>
                  <a:lnTo>
                    <a:pt x="220" y="489"/>
                  </a:lnTo>
                  <a:lnTo>
                    <a:pt x="192" y="489"/>
                  </a:lnTo>
                  <a:lnTo>
                    <a:pt x="161" y="489"/>
                  </a:lnTo>
                  <a:lnTo>
                    <a:pt x="132" y="493"/>
                  </a:lnTo>
                  <a:lnTo>
                    <a:pt x="103" y="499"/>
                  </a:lnTo>
                  <a:lnTo>
                    <a:pt x="78" y="504"/>
                  </a:lnTo>
                  <a:lnTo>
                    <a:pt x="53" y="514"/>
                  </a:lnTo>
                  <a:lnTo>
                    <a:pt x="32" y="524"/>
                  </a:lnTo>
                  <a:lnTo>
                    <a:pt x="13" y="535"/>
                  </a:lnTo>
                  <a:lnTo>
                    <a:pt x="0" y="547"/>
                  </a:lnTo>
                  <a:lnTo>
                    <a:pt x="34" y="550"/>
                  </a:lnTo>
                  <a:lnTo>
                    <a:pt x="67" y="558"/>
                  </a:lnTo>
                  <a:lnTo>
                    <a:pt x="98" y="570"/>
                  </a:lnTo>
                  <a:lnTo>
                    <a:pt x="128" y="581"/>
                  </a:lnTo>
                  <a:lnTo>
                    <a:pt x="157" y="597"/>
                  </a:lnTo>
                  <a:lnTo>
                    <a:pt x="184" y="616"/>
                  </a:lnTo>
                  <a:lnTo>
                    <a:pt x="211" y="637"/>
                  </a:lnTo>
                  <a:lnTo>
                    <a:pt x="236" y="660"/>
                  </a:lnTo>
                  <a:lnTo>
                    <a:pt x="261" y="687"/>
                  </a:lnTo>
                  <a:lnTo>
                    <a:pt x="284" y="718"/>
                  </a:lnTo>
                  <a:lnTo>
                    <a:pt x="307" y="750"/>
                  </a:lnTo>
                  <a:lnTo>
                    <a:pt x="330" y="785"/>
                  </a:lnTo>
                  <a:lnTo>
                    <a:pt x="353" y="825"/>
                  </a:lnTo>
                  <a:lnTo>
                    <a:pt x="374" y="867"/>
                  </a:lnTo>
                  <a:lnTo>
                    <a:pt x="397" y="913"/>
                  </a:lnTo>
                  <a:lnTo>
                    <a:pt x="418" y="961"/>
                  </a:lnTo>
                  <a:lnTo>
                    <a:pt x="432" y="990"/>
                  </a:lnTo>
                  <a:lnTo>
                    <a:pt x="445" y="1019"/>
                  </a:lnTo>
                  <a:lnTo>
                    <a:pt x="460" y="1046"/>
                  </a:lnTo>
                  <a:lnTo>
                    <a:pt x="476" y="1073"/>
                  </a:lnTo>
                  <a:lnTo>
                    <a:pt x="493" y="1100"/>
                  </a:lnTo>
                  <a:lnTo>
                    <a:pt x="512" y="1124"/>
                  </a:lnTo>
                  <a:lnTo>
                    <a:pt x="531" y="1148"/>
                  </a:lnTo>
                  <a:lnTo>
                    <a:pt x="554" y="1169"/>
                  </a:lnTo>
                  <a:lnTo>
                    <a:pt x="578" y="1190"/>
                  </a:lnTo>
                  <a:lnTo>
                    <a:pt x="604" y="1207"/>
                  </a:lnTo>
                  <a:lnTo>
                    <a:pt x="633" y="1222"/>
                  </a:lnTo>
                  <a:lnTo>
                    <a:pt x="664" y="1236"/>
                  </a:lnTo>
                  <a:lnTo>
                    <a:pt x="698" y="1247"/>
                  </a:lnTo>
                  <a:lnTo>
                    <a:pt x="735" y="1255"/>
                  </a:lnTo>
                  <a:lnTo>
                    <a:pt x="775" y="1261"/>
                  </a:lnTo>
                  <a:lnTo>
                    <a:pt x="818" y="1263"/>
                  </a:lnTo>
                  <a:lnTo>
                    <a:pt x="860" y="1263"/>
                  </a:lnTo>
                  <a:lnTo>
                    <a:pt x="906" y="1257"/>
                  </a:lnTo>
                  <a:lnTo>
                    <a:pt x="954" y="1253"/>
                  </a:lnTo>
                  <a:lnTo>
                    <a:pt x="1000" y="1249"/>
                  </a:lnTo>
                  <a:lnTo>
                    <a:pt x="1025" y="1249"/>
                  </a:lnTo>
                  <a:lnTo>
                    <a:pt x="1048" y="1251"/>
                  </a:lnTo>
                  <a:lnTo>
                    <a:pt x="1071" y="1253"/>
                  </a:lnTo>
                  <a:lnTo>
                    <a:pt x="1092" y="1257"/>
                  </a:lnTo>
                  <a:lnTo>
                    <a:pt x="1113" y="1265"/>
                  </a:lnTo>
                  <a:lnTo>
                    <a:pt x="1134" y="1274"/>
                  </a:lnTo>
                  <a:lnTo>
                    <a:pt x="1154" y="1286"/>
                  </a:lnTo>
                  <a:lnTo>
                    <a:pt x="1171" y="1299"/>
                  </a:lnTo>
                  <a:lnTo>
                    <a:pt x="1184" y="1316"/>
                  </a:lnTo>
                  <a:lnTo>
                    <a:pt x="1198" y="1332"/>
                  </a:lnTo>
                  <a:lnTo>
                    <a:pt x="1207" y="1349"/>
                  </a:lnTo>
                  <a:lnTo>
                    <a:pt x="1215" y="1366"/>
                  </a:lnTo>
                  <a:lnTo>
                    <a:pt x="1223" y="1384"/>
                  </a:lnTo>
                  <a:lnTo>
                    <a:pt x="1228" y="1401"/>
                  </a:lnTo>
                  <a:lnTo>
                    <a:pt x="1232" y="1418"/>
                  </a:lnTo>
                  <a:lnTo>
                    <a:pt x="1236" y="1435"/>
                  </a:lnTo>
                  <a:lnTo>
                    <a:pt x="1242" y="1472"/>
                  </a:lnTo>
                  <a:lnTo>
                    <a:pt x="1248" y="1508"/>
                  </a:lnTo>
                  <a:lnTo>
                    <a:pt x="1250" y="1526"/>
                  </a:lnTo>
                  <a:lnTo>
                    <a:pt x="1255" y="1543"/>
                  </a:lnTo>
                  <a:lnTo>
                    <a:pt x="1259" y="1560"/>
                  </a:lnTo>
                  <a:lnTo>
                    <a:pt x="1267" y="1578"/>
                  </a:lnTo>
                  <a:lnTo>
                    <a:pt x="1276" y="1597"/>
                  </a:lnTo>
                  <a:lnTo>
                    <a:pt x="1288" y="1616"/>
                  </a:lnTo>
                  <a:lnTo>
                    <a:pt x="1299" y="1633"/>
                  </a:lnTo>
                  <a:lnTo>
                    <a:pt x="1313" y="1649"/>
                  </a:lnTo>
                  <a:lnTo>
                    <a:pt x="1328" y="1664"/>
                  </a:lnTo>
                  <a:lnTo>
                    <a:pt x="1346" y="1677"/>
                  </a:lnTo>
                  <a:lnTo>
                    <a:pt x="1365" y="1691"/>
                  </a:lnTo>
                  <a:lnTo>
                    <a:pt x="1386" y="1702"/>
                  </a:lnTo>
                  <a:lnTo>
                    <a:pt x="1407" y="1712"/>
                  </a:lnTo>
                  <a:lnTo>
                    <a:pt x="1432" y="1721"/>
                  </a:lnTo>
                  <a:lnTo>
                    <a:pt x="1457" y="1729"/>
                  </a:lnTo>
                  <a:lnTo>
                    <a:pt x="1486" y="1737"/>
                  </a:lnTo>
                  <a:lnTo>
                    <a:pt x="1514" y="1743"/>
                  </a:lnTo>
                  <a:lnTo>
                    <a:pt x="1547" y="1746"/>
                  </a:lnTo>
                  <a:lnTo>
                    <a:pt x="1580" y="1750"/>
                  </a:lnTo>
                  <a:lnTo>
                    <a:pt x="1616" y="1754"/>
                  </a:lnTo>
                  <a:lnTo>
                    <a:pt x="1601" y="1766"/>
                  </a:lnTo>
                  <a:lnTo>
                    <a:pt x="1584" y="1777"/>
                  </a:lnTo>
                  <a:lnTo>
                    <a:pt x="1564" y="1787"/>
                  </a:lnTo>
                  <a:lnTo>
                    <a:pt x="1545" y="1794"/>
                  </a:lnTo>
                  <a:lnTo>
                    <a:pt x="1524" y="1802"/>
                  </a:lnTo>
                  <a:lnTo>
                    <a:pt x="1503" y="1808"/>
                  </a:lnTo>
                  <a:lnTo>
                    <a:pt x="1480" y="1814"/>
                  </a:lnTo>
                  <a:lnTo>
                    <a:pt x="1457" y="1817"/>
                  </a:lnTo>
                  <a:lnTo>
                    <a:pt x="1434" y="1821"/>
                  </a:lnTo>
                  <a:lnTo>
                    <a:pt x="1409" y="1823"/>
                  </a:lnTo>
                  <a:lnTo>
                    <a:pt x="1384" y="1823"/>
                  </a:lnTo>
                  <a:lnTo>
                    <a:pt x="1359" y="1823"/>
                  </a:lnTo>
                  <a:lnTo>
                    <a:pt x="1309" y="1821"/>
                  </a:lnTo>
                  <a:lnTo>
                    <a:pt x="1257" y="1816"/>
                  </a:lnTo>
                  <a:lnTo>
                    <a:pt x="1207" y="1806"/>
                  </a:lnTo>
                  <a:lnTo>
                    <a:pt x="1157" y="1793"/>
                  </a:lnTo>
                  <a:lnTo>
                    <a:pt x="1109" y="1777"/>
                  </a:lnTo>
                  <a:lnTo>
                    <a:pt x="1063" y="1760"/>
                  </a:lnTo>
                  <a:lnTo>
                    <a:pt x="1021" y="1739"/>
                  </a:lnTo>
                  <a:lnTo>
                    <a:pt x="983" y="1718"/>
                  </a:lnTo>
                  <a:lnTo>
                    <a:pt x="965" y="1706"/>
                  </a:lnTo>
                  <a:lnTo>
                    <a:pt x="950" y="1693"/>
                  </a:lnTo>
                  <a:lnTo>
                    <a:pt x="935" y="1679"/>
                  </a:lnTo>
                  <a:lnTo>
                    <a:pt x="921" y="1668"/>
                  </a:lnTo>
                  <a:lnTo>
                    <a:pt x="923" y="1700"/>
                  </a:lnTo>
                  <a:lnTo>
                    <a:pt x="927" y="1733"/>
                  </a:lnTo>
                  <a:lnTo>
                    <a:pt x="933" y="1766"/>
                  </a:lnTo>
                  <a:lnTo>
                    <a:pt x="940" y="1798"/>
                  </a:lnTo>
                  <a:lnTo>
                    <a:pt x="948" y="1829"/>
                  </a:lnTo>
                  <a:lnTo>
                    <a:pt x="960" y="1860"/>
                  </a:lnTo>
                  <a:lnTo>
                    <a:pt x="971" y="1890"/>
                  </a:lnTo>
                  <a:lnTo>
                    <a:pt x="985" y="1919"/>
                  </a:lnTo>
                  <a:lnTo>
                    <a:pt x="998" y="1948"/>
                  </a:lnTo>
                  <a:lnTo>
                    <a:pt x="1015" y="1975"/>
                  </a:lnTo>
                  <a:lnTo>
                    <a:pt x="1033" y="2002"/>
                  </a:lnTo>
                  <a:lnTo>
                    <a:pt x="1052" y="2027"/>
                  </a:lnTo>
                  <a:lnTo>
                    <a:pt x="1073" y="2052"/>
                  </a:lnTo>
                  <a:lnTo>
                    <a:pt x="1096" y="2075"/>
                  </a:lnTo>
                  <a:lnTo>
                    <a:pt x="1121" y="2096"/>
                  </a:lnTo>
                  <a:lnTo>
                    <a:pt x="1146" y="2117"/>
                  </a:lnTo>
                  <a:lnTo>
                    <a:pt x="1173" y="2136"/>
                  </a:lnTo>
                  <a:lnTo>
                    <a:pt x="1202" y="2153"/>
                  </a:lnTo>
                  <a:lnTo>
                    <a:pt x="1232" y="2169"/>
                  </a:lnTo>
                  <a:lnTo>
                    <a:pt x="1265" y="2182"/>
                  </a:lnTo>
                  <a:lnTo>
                    <a:pt x="1298" y="2196"/>
                  </a:lnTo>
                  <a:lnTo>
                    <a:pt x="1334" y="2205"/>
                  </a:lnTo>
                  <a:lnTo>
                    <a:pt x="1370" y="2215"/>
                  </a:lnTo>
                  <a:lnTo>
                    <a:pt x="1409" y="2221"/>
                  </a:lnTo>
                  <a:lnTo>
                    <a:pt x="1447" y="2224"/>
                  </a:lnTo>
                  <a:lnTo>
                    <a:pt x="1490" y="2226"/>
                  </a:lnTo>
                  <a:lnTo>
                    <a:pt x="1534" y="2226"/>
                  </a:lnTo>
                  <a:lnTo>
                    <a:pt x="1578" y="2224"/>
                  </a:lnTo>
                  <a:lnTo>
                    <a:pt x="1624" y="2219"/>
                  </a:lnTo>
                  <a:lnTo>
                    <a:pt x="1672" y="2213"/>
                  </a:lnTo>
                  <a:lnTo>
                    <a:pt x="1722" y="2201"/>
                  </a:lnTo>
                  <a:lnTo>
                    <a:pt x="1772" y="2190"/>
                  </a:lnTo>
                  <a:lnTo>
                    <a:pt x="1808" y="2182"/>
                  </a:lnTo>
                  <a:lnTo>
                    <a:pt x="1839" y="2178"/>
                  </a:lnTo>
                  <a:lnTo>
                    <a:pt x="1854" y="2178"/>
                  </a:lnTo>
                  <a:lnTo>
                    <a:pt x="1870" y="2180"/>
                  </a:lnTo>
                  <a:lnTo>
                    <a:pt x="1883" y="2182"/>
                  </a:lnTo>
                  <a:lnTo>
                    <a:pt x="1897" y="2186"/>
                  </a:lnTo>
                  <a:lnTo>
                    <a:pt x="1908" y="2192"/>
                  </a:lnTo>
                  <a:lnTo>
                    <a:pt x="1920" y="2199"/>
                  </a:lnTo>
                  <a:lnTo>
                    <a:pt x="1931" y="2207"/>
                  </a:lnTo>
                  <a:lnTo>
                    <a:pt x="1941" y="2217"/>
                  </a:lnTo>
                  <a:lnTo>
                    <a:pt x="1950" y="2228"/>
                  </a:lnTo>
                  <a:lnTo>
                    <a:pt x="1960" y="2244"/>
                  </a:lnTo>
                  <a:lnTo>
                    <a:pt x="1968" y="2259"/>
                  </a:lnTo>
                  <a:lnTo>
                    <a:pt x="1975" y="2276"/>
                  </a:lnTo>
                  <a:lnTo>
                    <a:pt x="1985" y="2299"/>
                  </a:lnTo>
                  <a:lnTo>
                    <a:pt x="1996" y="2320"/>
                  </a:lnTo>
                  <a:lnTo>
                    <a:pt x="2010" y="2340"/>
                  </a:lnTo>
                  <a:lnTo>
                    <a:pt x="2025" y="2357"/>
                  </a:lnTo>
                  <a:lnTo>
                    <a:pt x="2041" y="2370"/>
                  </a:lnTo>
                  <a:lnTo>
                    <a:pt x="2058" y="2384"/>
                  </a:lnTo>
                  <a:lnTo>
                    <a:pt x="2075" y="2393"/>
                  </a:lnTo>
                  <a:lnTo>
                    <a:pt x="2094" y="2403"/>
                  </a:lnTo>
                  <a:lnTo>
                    <a:pt x="2114" y="2409"/>
                  </a:lnTo>
                  <a:lnTo>
                    <a:pt x="2133" y="2414"/>
                  </a:lnTo>
                  <a:lnTo>
                    <a:pt x="2154" y="2418"/>
                  </a:lnTo>
                  <a:lnTo>
                    <a:pt x="2175" y="2420"/>
                  </a:lnTo>
                  <a:lnTo>
                    <a:pt x="2196" y="2420"/>
                  </a:lnTo>
                  <a:lnTo>
                    <a:pt x="2217" y="2420"/>
                  </a:lnTo>
                  <a:lnTo>
                    <a:pt x="2238" y="2420"/>
                  </a:lnTo>
                  <a:lnTo>
                    <a:pt x="2259" y="2418"/>
                  </a:lnTo>
                  <a:lnTo>
                    <a:pt x="2307" y="2413"/>
                  </a:lnTo>
                  <a:lnTo>
                    <a:pt x="2354" y="2409"/>
                  </a:lnTo>
                  <a:lnTo>
                    <a:pt x="2396" y="2409"/>
                  </a:lnTo>
                  <a:lnTo>
                    <a:pt x="2438" y="2411"/>
                  </a:lnTo>
                  <a:lnTo>
                    <a:pt x="2476" y="2413"/>
                  </a:lnTo>
                  <a:lnTo>
                    <a:pt x="2515" y="2418"/>
                  </a:lnTo>
                  <a:lnTo>
                    <a:pt x="2549" y="2428"/>
                  </a:lnTo>
                  <a:lnTo>
                    <a:pt x="2584" y="2438"/>
                  </a:lnTo>
                  <a:lnTo>
                    <a:pt x="2618" y="2451"/>
                  </a:lnTo>
                  <a:lnTo>
                    <a:pt x="2649" y="2466"/>
                  </a:lnTo>
                  <a:lnTo>
                    <a:pt x="2680" y="2485"/>
                  </a:lnTo>
                  <a:lnTo>
                    <a:pt x="2711" y="2505"/>
                  </a:lnTo>
                  <a:lnTo>
                    <a:pt x="2739" y="2530"/>
                  </a:lnTo>
                  <a:lnTo>
                    <a:pt x="2768" y="2555"/>
                  </a:lnTo>
                  <a:lnTo>
                    <a:pt x="2797" y="2585"/>
                  </a:lnTo>
                  <a:lnTo>
                    <a:pt x="2826" y="2616"/>
                  </a:lnTo>
                  <a:lnTo>
                    <a:pt x="2828" y="2589"/>
                  </a:lnTo>
                  <a:lnTo>
                    <a:pt x="2830" y="2562"/>
                  </a:lnTo>
                  <a:lnTo>
                    <a:pt x="2828" y="2537"/>
                  </a:lnTo>
                  <a:lnTo>
                    <a:pt x="2828" y="2510"/>
                  </a:lnTo>
                  <a:lnTo>
                    <a:pt x="2824" y="2487"/>
                  </a:lnTo>
                  <a:lnTo>
                    <a:pt x="2820" y="2462"/>
                  </a:lnTo>
                  <a:lnTo>
                    <a:pt x="2816" y="2439"/>
                  </a:lnTo>
                  <a:lnTo>
                    <a:pt x="2809" y="2416"/>
                  </a:lnTo>
                  <a:lnTo>
                    <a:pt x="2803" y="2395"/>
                  </a:lnTo>
                  <a:lnTo>
                    <a:pt x="2795" y="2374"/>
                  </a:lnTo>
                  <a:lnTo>
                    <a:pt x="2786" y="2353"/>
                  </a:lnTo>
                  <a:lnTo>
                    <a:pt x="2776" y="2334"/>
                  </a:lnTo>
                  <a:lnTo>
                    <a:pt x="2755" y="2295"/>
                  </a:lnTo>
                  <a:lnTo>
                    <a:pt x="2732" y="2261"/>
                  </a:lnTo>
                  <a:lnTo>
                    <a:pt x="2707" y="2226"/>
                  </a:lnTo>
                  <a:lnTo>
                    <a:pt x="2680" y="2198"/>
                  </a:lnTo>
                  <a:lnTo>
                    <a:pt x="2651" y="2169"/>
                  </a:lnTo>
                  <a:lnTo>
                    <a:pt x="2622" y="2144"/>
                  </a:lnTo>
                  <a:lnTo>
                    <a:pt x="2594" y="2119"/>
                  </a:lnTo>
                  <a:lnTo>
                    <a:pt x="2567" y="2098"/>
                  </a:lnTo>
                  <a:lnTo>
                    <a:pt x="2540" y="2080"/>
                  </a:lnTo>
                  <a:lnTo>
                    <a:pt x="2513" y="2063"/>
                  </a:lnTo>
                  <a:lnTo>
                    <a:pt x="2490" y="2048"/>
                  </a:lnTo>
                  <a:lnTo>
                    <a:pt x="2471" y="2032"/>
                  </a:lnTo>
                  <a:lnTo>
                    <a:pt x="2453" y="2019"/>
                  </a:lnTo>
                  <a:lnTo>
                    <a:pt x="2438" y="2004"/>
                  </a:lnTo>
                  <a:lnTo>
                    <a:pt x="2425" y="1988"/>
                  </a:lnTo>
                  <a:lnTo>
                    <a:pt x="2413" y="1973"/>
                  </a:lnTo>
                  <a:lnTo>
                    <a:pt x="2403" y="1960"/>
                  </a:lnTo>
                  <a:lnTo>
                    <a:pt x="2396" y="1944"/>
                  </a:lnTo>
                  <a:lnTo>
                    <a:pt x="2390" y="1931"/>
                  </a:lnTo>
                  <a:lnTo>
                    <a:pt x="2384" y="1915"/>
                  </a:lnTo>
                  <a:lnTo>
                    <a:pt x="2380" y="1902"/>
                  </a:lnTo>
                  <a:lnTo>
                    <a:pt x="2377" y="1888"/>
                  </a:lnTo>
                  <a:lnTo>
                    <a:pt x="2375" y="1862"/>
                  </a:lnTo>
                  <a:lnTo>
                    <a:pt x="2373" y="1837"/>
                  </a:lnTo>
                  <a:lnTo>
                    <a:pt x="2390" y="1856"/>
                  </a:lnTo>
                  <a:lnTo>
                    <a:pt x="2407" y="1873"/>
                  </a:lnTo>
                  <a:lnTo>
                    <a:pt x="2426" y="1890"/>
                  </a:lnTo>
                  <a:lnTo>
                    <a:pt x="2446" y="1906"/>
                  </a:lnTo>
                  <a:lnTo>
                    <a:pt x="2467" y="1919"/>
                  </a:lnTo>
                  <a:lnTo>
                    <a:pt x="2486" y="1931"/>
                  </a:lnTo>
                  <a:lnTo>
                    <a:pt x="2507" y="1942"/>
                  </a:lnTo>
                  <a:lnTo>
                    <a:pt x="2528" y="1954"/>
                  </a:lnTo>
                  <a:lnTo>
                    <a:pt x="2549" y="1963"/>
                  </a:lnTo>
                  <a:lnTo>
                    <a:pt x="2572" y="1971"/>
                  </a:lnTo>
                  <a:lnTo>
                    <a:pt x="2594" y="1979"/>
                  </a:lnTo>
                  <a:lnTo>
                    <a:pt x="2617" y="1986"/>
                  </a:lnTo>
                  <a:lnTo>
                    <a:pt x="2663" y="1996"/>
                  </a:lnTo>
                  <a:lnTo>
                    <a:pt x="2709" y="2004"/>
                  </a:lnTo>
                  <a:lnTo>
                    <a:pt x="2747" y="2009"/>
                  </a:lnTo>
                  <a:lnTo>
                    <a:pt x="2786" y="2017"/>
                  </a:lnTo>
                  <a:lnTo>
                    <a:pt x="2822" y="2025"/>
                  </a:lnTo>
                  <a:lnTo>
                    <a:pt x="2858" y="2032"/>
                  </a:lnTo>
                  <a:lnTo>
                    <a:pt x="2891" y="2042"/>
                  </a:lnTo>
                  <a:lnTo>
                    <a:pt x="2924" y="2052"/>
                  </a:lnTo>
                  <a:lnTo>
                    <a:pt x="2954" y="2063"/>
                  </a:lnTo>
                  <a:lnTo>
                    <a:pt x="2983" y="2075"/>
                  </a:lnTo>
                  <a:lnTo>
                    <a:pt x="3012" y="2088"/>
                  </a:lnTo>
                  <a:lnTo>
                    <a:pt x="3037" y="2102"/>
                  </a:lnTo>
                  <a:lnTo>
                    <a:pt x="3062" y="2117"/>
                  </a:lnTo>
                  <a:lnTo>
                    <a:pt x="3085" y="2134"/>
                  </a:lnTo>
                  <a:lnTo>
                    <a:pt x="3106" y="2151"/>
                  </a:lnTo>
                  <a:lnTo>
                    <a:pt x="3125" y="2169"/>
                  </a:lnTo>
                  <a:lnTo>
                    <a:pt x="3143" y="2188"/>
                  </a:lnTo>
                  <a:lnTo>
                    <a:pt x="3160" y="2209"/>
                  </a:lnTo>
                  <a:lnTo>
                    <a:pt x="3160" y="2180"/>
                  </a:lnTo>
                  <a:lnTo>
                    <a:pt x="3160" y="2151"/>
                  </a:lnTo>
                  <a:lnTo>
                    <a:pt x="3156" y="2125"/>
                  </a:lnTo>
                  <a:lnTo>
                    <a:pt x="3152" y="2100"/>
                  </a:lnTo>
                  <a:lnTo>
                    <a:pt x="3146" y="2075"/>
                  </a:lnTo>
                  <a:lnTo>
                    <a:pt x="3139" y="2052"/>
                  </a:lnTo>
                  <a:lnTo>
                    <a:pt x="3129" y="2029"/>
                  </a:lnTo>
                  <a:lnTo>
                    <a:pt x="3120" y="2008"/>
                  </a:lnTo>
                  <a:lnTo>
                    <a:pt x="3106" y="1988"/>
                  </a:lnTo>
                  <a:lnTo>
                    <a:pt x="3095" y="1969"/>
                  </a:lnTo>
                  <a:lnTo>
                    <a:pt x="3081" y="1950"/>
                  </a:lnTo>
                  <a:lnTo>
                    <a:pt x="3066" y="1933"/>
                  </a:lnTo>
                  <a:lnTo>
                    <a:pt x="3035" y="1900"/>
                  </a:lnTo>
                  <a:lnTo>
                    <a:pt x="3004" y="1871"/>
                  </a:lnTo>
                  <a:lnTo>
                    <a:pt x="2937" y="1817"/>
                  </a:lnTo>
                  <a:lnTo>
                    <a:pt x="2876" y="1769"/>
                  </a:lnTo>
                  <a:lnTo>
                    <a:pt x="2849" y="1746"/>
                  </a:lnTo>
                  <a:lnTo>
                    <a:pt x="2828" y="1721"/>
                  </a:lnTo>
                  <a:lnTo>
                    <a:pt x="2818" y="1710"/>
                  </a:lnTo>
                  <a:lnTo>
                    <a:pt x="2810" y="1698"/>
                  </a:lnTo>
                  <a:lnTo>
                    <a:pt x="2803" y="1685"/>
                  </a:lnTo>
                  <a:lnTo>
                    <a:pt x="2799" y="1673"/>
                  </a:lnTo>
                  <a:lnTo>
                    <a:pt x="2837" y="1698"/>
                  </a:lnTo>
                  <a:lnTo>
                    <a:pt x="2876" y="1718"/>
                  </a:lnTo>
                  <a:lnTo>
                    <a:pt x="2910" y="1735"/>
                  </a:lnTo>
                  <a:lnTo>
                    <a:pt x="2947" y="1746"/>
                  </a:lnTo>
                  <a:lnTo>
                    <a:pt x="2983" y="1756"/>
                  </a:lnTo>
                  <a:lnTo>
                    <a:pt x="3020" y="1760"/>
                  </a:lnTo>
                  <a:lnTo>
                    <a:pt x="3058" y="1762"/>
                  </a:lnTo>
                  <a:lnTo>
                    <a:pt x="3098" y="1760"/>
                  </a:lnTo>
                  <a:lnTo>
                    <a:pt x="3125" y="1758"/>
                  </a:lnTo>
                  <a:lnTo>
                    <a:pt x="3156" y="1752"/>
                  </a:lnTo>
                  <a:lnTo>
                    <a:pt x="3185" y="1746"/>
                  </a:lnTo>
                  <a:lnTo>
                    <a:pt x="3216" y="1739"/>
                  </a:lnTo>
                  <a:lnTo>
                    <a:pt x="3244" y="1733"/>
                  </a:lnTo>
                  <a:lnTo>
                    <a:pt x="3275" y="1727"/>
                  </a:lnTo>
                  <a:lnTo>
                    <a:pt x="3306" y="1723"/>
                  </a:lnTo>
                  <a:lnTo>
                    <a:pt x="3337" y="1721"/>
                  </a:lnTo>
                  <a:lnTo>
                    <a:pt x="3367" y="1721"/>
                  </a:lnTo>
                  <a:lnTo>
                    <a:pt x="3396" y="1725"/>
                  </a:lnTo>
                  <a:lnTo>
                    <a:pt x="3411" y="1729"/>
                  </a:lnTo>
                  <a:lnTo>
                    <a:pt x="3427" y="1735"/>
                  </a:lnTo>
                  <a:lnTo>
                    <a:pt x="3440" y="1741"/>
                  </a:lnTo>
                  <a:lnTo>
                    <a:pt x="3456" y="1746"/>
                  </a:lnTo>
                  <a:lnTo>
                    <a:pt x="3469" y="1756"/>
                  </a:lnTo>
                  <a:lnTo>
                    <a:pt x="3484" y="1766"/>
                  </a:lnTo>
                  <a:lnTo>
                    <a:pt x="3498" y="1777"/>
                  </a:lnTo>
                  <a:lnTo>
                    <a:pt x="3511" y="1791"/>
                  </a:lnTo>
                  <a:lnTo>
                    <a:pt x="3525" y="1806"/>
                  </a:lnTo>
                  <a:lnTo>
                    <a:pt x="3538" y="1823"/>
                  </a:lnTo>
                  <a:lnTo>
                    <a:pt x="3552" y="1840"/>
                  </a:lnTo>
                  <a:lnTo>
                    <a:pt x="3563" y="1862"/>
                  </a:lnTo>
                  <a:lnTo>
                    <a:pt x="3596" y="1842"/>
                  </a:lnTo>
                  <a:lnTo>
                    <a:pt x="3630" y="1827"/>
                  </a:lnTo>
                  <a:lnTo>
                    <a:pt x="3665" y="1814"/>
                  </a:lnTo>
                  <a:lnTo>
                    <a:pt x="3699" y="1804"/>
                  </a:lnTo>
                  <a:lnTo>
                    <a:pt x="3736" y="1798"/>
                  </a:lnTo>
                  <a:lnTo>
                    <a:pt x="3772" y="1794"/>
                  </a:lnTo>
                  <a:lnTo>
                    <a:pt x="3809" y="1794"/>
                  </a:lnTo>
                  <a:lnTo>
                    <a:pt x="3843" y="1796"/>
                  </a:lnTo>
                  <a:lnTo>
                    <a:pt x="3880" y="1800"/>
                  </a:lnTo>
                  <a:lnTo>
                    <a:pt x="3916" y="1808"/>
                  </a:lnTo>
                  <a:lnTo>
                    <a:pt x="3951" y="1816"/>
                  </a:lnTo>
                  <a:lnTo>
                    <a:pt x="3986" y="1827"/>
                  </a:lnTo>
                  <a:lnTo>
                    <a:pt x="4018" y="1839"/>
                  </a:lnTo>
                  <a:lnTo>
                    <a:pt x="4051" y="1854"/>
                  </a:lnTo>
                  <a:lnTo>
                    <a:pt x="4080" y="1869"/>
                  </a:lnTo>
                  <a:lnTo>
                    <a:pt x="4110" y="1887"/>
                  </a:lnTo>
                  <a:close/>
                  <a:moveTo>
                    <a:pt x="2246" y="1449"/>
                  </a:moveTo>
                  <a:lnTo>
                    <a:pt x="1862" y="1449"/>
                  </a:lnTo>
                  <a:lnTo>
                    <a:pt x="1862" y="1063"/>
                  </a:lnTo>
                  <a:lnTo>
                    <a:pt x="2246" y="1063"/>
                  </a:lnTo>
                  <a:lnTo>
                    <a:pt x="2246" y="1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fi-FI"/>
            </a:p>
          </p:txBody>
        </p:sp>
      </p:grpSp>
    </p:spTree>
    <p:extLst>
      <p:ext uri="{BB962C8B-B14F-4D97-AF65-F5344CB8AC3E}">
        <p14:creationId xmlns:p14="http://schemas.microsoft.com/office/powerpoint/2010/main" val="2864294632"/>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icture 1">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bwMode="auto">
          <a:xfrm>
            <a:off x="864000" y="1988840"/>
            <a:ext cx="5813195" cy="864096"/>
          </a:xfrm>
          <a:prstGeom prst="rect">
            <a:avLst/>
          </a:prstGeom>
          <a:noFill/>
          <a:ln w="9525">
            <a:noFill/>
            <a:miter lim="800000"/>
            <a:headEnd/>
            <a:tailEnd/>
          </a:ln>
        </p:spPr>
        <p:txBody>
          <a:bodyPr lIns="91440" tIns="45720" rIns="91440" bIns="45720"/>
          <a:lstStyle>
            <a:lvl1pPr>
              <a:defRPr sz="3000"/>
            </a:lvl1pPr>
          </a:lstStyle>
          <a:p>
            <a:pPr lvl="0"/>
            <a:r>
              <a:rPr lang="fi-FI" dirty="0"/>
              <a:t>CLICK TO ADD TITLE</a:t>
            </a:r>
            <a:endParaRPr lang="en-US" dirty="0"/>
          </a:p>
        </p:txBody>
      </p:sp>
      <p:sp>
        <p:nvSpPr>
          <p:cNvPr id="13" name="Text Placeholder 2"/>
          <p:cNvSpPr>
            <a:spLocks noGrp="1"/>
          </p:cNvSpPr>
          <p:nvPr>
            <p:ph idx="1" hasCustomPrompt="1"/>
          </p:nvPr>
        </p:nvSpPr>
        <p:spPr bwMode="auto">
          <a:xfrm>
            <a:off x="763571" y="2996953"/>
            <a:ext cx="5908493" cy="3162547"/>
          </a:xfrm>
          <a:prstGeom prst="rect">
            <a:avLst/>
          </a:prstGeom>
          <a:noFill/>
          <a:ln w="9525">
            <a:noFill/>
            <a:miter lim="800000"/>
            <a:headEnd/>
            <a:tailEnd/>
          </a:ln>
        </p:spPr>
        <p:txBody>
          <a:bodyPr lIns="91440" tIns="45720" rIns="91440" bIns="45720"/>
          <a:lstStyle>
            <a:lvl1pPr marL="342900" indent="-250825">
              <a:lnSpc>
                <a:spcPct val="80000"/>
              </a:lnSpc>
              <a:buClr>
                <a:schemeClr val="tx1"/>
              </a:buClr>
              <a:buFont typeface="Arial"/>
              <a:buChar char="•"/>
              <a:defRPr>
                <a:latin typeface="+mn-lt"/>
                <a:cs typeface="Gotham Narrow Book"/>
              </a:defRPr>
            </a:lvl1pPr>
            <a:lvl2pPr marL="725488" indent="-342900">
              <a:lnSpc>
                <a:spcPct val="80000"/>
              </a:lnSpc>
              <a:buFont typeface="Arial"/>
              <a:buChar char="•"/>
              <a:defRPr>
                <a:latin typeface="+mn-lt"/>
                <a:cs typeface="Gotham Narrow Book"/>
              </a:defRPr>
            </a:lvl2pPr>
            <a:lvl3pPr>
              <a:lnSpc>
                <a:spcPct val="80000"/>
              </a:lnSpc>
              <a:defRPr>
                <a:latin typeface="+mn-lt"/>
                <a:cs typeface="Gotham Narrow Book"/>
              </a:defRPr>
            </a:lvl3pPr>
            <a:lvl4pPr>
              <a:lnSpc>
                <a:spcPct val="80000"/>
              </a:lnSpc>
              <a:defRPr>
                <a:latin typeface="+mn-lt"/>
                <a:cs typeface="Gotham Narrow Book"/>
              </a:defRPr>
            </a:lvl4pPr>
            <a:lvl5pPr>
              <a:lnSpc>
                <a:spcPct val="80000"/>
              </a:lnSpc>
              <a:defRPr>
                <a:latin typeface="+mn-lt"/>
                <a:cs typeface="Gotham Narrow Book"/>
              </a:defRPr>
            </a:lvl5pPr>
          </a:lstStyle>
          <a:p>
            <a:pPr lvl="0"/>
            <a:r>
              <a:rPr lang="fi-FI" noProof="0" dirty="0" err="1"/>
              <a:t>Click</a:t>
            </a:r>
            <a:r>
              <a:rPr lang="fi-FI" noProof="0" dirty="0"/>
              <a:t> to </a:t>
            </a:r>
            <a:r>
              <a:rPr lang="fi-FI" noProof="0" dirty="0" err="1"/>
              <a:t>add</a:t>
            </a:r>
            <a:r>
              <a:rPr lang="fi-FI" noProof="0" dirty="0"/>
              <a:t> </a:t>
            </a:r>
            <a:r>
              <a:rPr lang="fi-FI" noProof="0" dirty="0" err="1"/>
              <a:t>text</a:t>
            </a:r>
            <a:endParaRPr lang="fi-FI" noProof="0" dirty="0"/>
          </a:p>
          <a:p>
            <a:pPr lvl="1"/>
            <a:r>
              <a:rPr lang="fi-FI" noProof="0" dirty="0"/>
              <a:t>Second </a:t>
            </a:r>
            <a:r>
              <a:rPr lang="fi-FI" noProof="0" dirty="0" err="1"/>
              <a:t>level</a:t>
            </a:r>
            <a:endParaRPr lang="fi-FI" noProof="0" dirty="0"/>
          </a:p>
          <a:p>
            <a:pPr lvl="2"/>
            <a:r>
              <a:rPr lang="fi-FI" noProof="0" dirty="0"/>
              <a:t>Third </a:t>
            </a:r>
            <a:r>
              <a:rPr lang="fi-FI" noProof="0" dirty="0" err="1"/>
              <a:t>level</a:t>
            </a:r>
            <a:endParaRPr lang="fi-FI" noProof="0" dirty="0"/>
          </a:p>
          <a:p>
            <a:pPr lvl="3"/>
            <a:r>
              <a:rPr lang="fi-FI" noProof="0" dirty="0" err="1"/>
              <a:t>Fourth</a:t>
            </a:r>
            <a:r>
              <a:rPr lang="fi-FI" noProof="0" dirty="0"/>
              <a:t> </a:t>
            </a:r>
            <a:r>
              <a:rPr lang="fi-FI" noProof="0" dirty="0" err="1"/>
              <a:t>level</a:t>
            </a:r>
            <a:endParaRPr lang="fi-FI" noProof="0" dirty="0"/>
          </a:p>
          <a:p>
            <a:pPr lvl="4"/>
            <a:r>
              <a:rPr lang="fi-FI" noProof="0" dirty="0" err="1"/>
              <a:t>Fifth</a:t>
            </a:r>
            <a:r>
              <a:rPr lang="fi-FI" noProof="0" dirty="0"/>
              <a:t> </a:t>
            </a:r>
            <a:r>
              <a:rPr lang="fi-FI" noProof="0" dirty="0" err="1"/>
              <a:t>level</a:t>
            </a:r>
            <a:endParaRPr lang="en-US" noProof="0" dirty="0"/>
          </a:p>
        </p:txBody>
      </p:sp>
      <p:sp>
        <p:nvSpPr>
          <p:cNvPr id="12" name="Picture Placeholder 2"/>
          <p:cNvSpPr>
            <a:spLocks noGrp="1"/>
          </p:cNvSpPr>
          <p:nvPr>
            <p:ph type="pic" sz="quarter" idx="13" hasCustomPrompt="1"/>
          </p:nvPr>
        </p:nvSpPr>
        <p:spPr>
          <a:xfrm>
            <a:off x="6773333" y="254000"/>
            <a:ext cx="5080000" cy="5905500"/>
          </a:xfrm>
          <a:solidFill>
            <a:srgbClr val="7F7F7F"/>
          </a:solidFill>
        </p:spPr>
        <p:txBody>
          <a:bodyPr anchor="ctr"/>
          <a:lstStyle>
            <a:lvl1pPr marL="342900" marR="0" indent="-342900" algn="ctr" defTabSz="914400" rtl="0" eaLnBrk="1" fontAlgn="base" latinLnBrk="0" hangingPunct="1">
              <a:lnSpc>
                <a:spcPct val="100000"/>
              </a:lnSpc>
              <a:spcBef>
                <a:spcPct val="0"/>
              </a:spcBef>
              <a:spcAft>
                <a:spcPct val="50000"/>
              </a:spcAft>
              <a:buClr>
                <a:schemeClr val="accent1"/>
              </a:buClr>
              <a:buSzPct val="100000"/>
              <a:buFontTx/>
              <a:buNone/>
              <a:tabLst/>
              <a:defRPr b="0" i="0">
                <a:latin typeface="Gotham-Bold"/>
                <a:cs typeface="Gotham-Bold"/>
              </a:defRPr>
            </a:lvl1pPr>
          </a:lstStyle>
          <a:p>
            <a:r>
              <a:rPr lang="en-US" dirty="0"/>
              <a:t>Click icon to add picture</a:t>
            </a:r>
          </a:p>
        </p:txBody>
      </p:sp>
      <p:sp>
        <p:nvSpPr>
          <p:cNvPr id="2" name="Päivämäärän paikkamerkki 1"/>
          <p:cNvSpPr>
            <a:spLocks noGrp="1"/>
          </p:cNvSpPr>
          <p:nvPr>
            <p:ph type="dt" sz="half" idx="14"/>
          </p:nvPr>
        </p:nvSpPr>
        <p:spPr/>
        <p:txBody>
          <a:bodyPr/>
          <a:lstStyle/>
          <a:p>
            <a:pPr>
              <a:defRPr/>
            </a:pPr>
            <a:fld id="{130ACB8D-2E7A-48A7-A94B-030165EC4793}" type="datetime1">
              <a:rPr lang="en-GB" smtClean="0"/>
              <a:t>22/08/2025</a:t>
            </a:fld>
            <a:endParaRPr lang="fi-FI" dirty="0"/>
          </a:p>
        </p:txBody>
      </p:sp>
      <p:sp>
        <p:nvSpPr>
          <p:cNvPr id="6" name="Alatunnisteen paikkamerkki 5"/>
          <p:cNvSpPr>
            <a:spLocks noGrp="1"/>
          </p:cNvSpPr>
          <p:nvPr>
            <p:ph type="ftr" sz="quarter" idx="15"/>
          </p:nvPr>
        </p:nvSpPr>
        <p:spPr/>
        <p:txBody>
          <a:bodyPr/>
          <a:lstStyle/>
          <a:p>
            <a:r>
              <a:rPr lang="fi-FI"/>
              <a:t>Presentation Name / Firstname Lastname</a:t>
            </a:r>
            <a:endParaRPr lang="fi-FI" dirty="0"/>
          </a:p>
        </p:txBody>
      </p:sp>
      <p:sp>
        <p:nvSpPr>
          <p:cNvPr id="7" name="Dian numeron paikkamerkki 6"/>
          <p:cNvSpPr>
            <a:spLocks noGrp="1"/>
          </p:cNvSpPr>
          <p:nvPr>
            <p:ph type="sldNum" sz="quarter" idx="16"/>
          </p:nvPr>
        </p:nvSpPr>
        <p:spPr/>
        <p:txBody>
          <a:bodyPr/>
          <a:lstStyle/>
          <a:p>
            <a:pPr>
              <a:defRPr/>
            </a:pPr>
            <a:fld id="{4669315E-5A66-CF44-AE5D-C333B2F730C4}" type="slidenum">
              <a:rPr lang="en-GB" smtClean="0"/>
              <a:pPr>
                <a:defRPr/>
              </a:pPr>
              <a:t>‹#›</a:t>
            </a:fld>
            <a:endParaRPr lang="en-GB" dirty="0"/>
          </a:p>
        </p:txBody>
      </p:sp>
    </p:spTree>
    <p:extLst>
      <p:ext uri="{BB962C8B-B14F-4D97-AF65-F5344CB8AC3E}">
        <p14:creationId xmlns:p14="http://schemas.microsoft.com/office/powerpoint/2010/main" val="747968994"/>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icture 2">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bwMode="auto">
          <a:xfrm>
            <a:off x="864000" y="1988840"/>
            <a:ext cx="5814000" cy="864096"/>
          </a:xfrm>
          <a:prstGeom prst="rect">
            <a:avLst/>
          </a:prstGeom>
          <a:noFill/>
          <a:ln w="9525">
            <a:noFill/>
            <a:miter lim="800000"/>
            <a:headEnd/>
            <a:tailEnd/>
          </a:ln>
        </p:spPr>
        <p:txBody>
          <a:bodyPr lIns="91440" tIns="45720" rIns="91440" bIns="45720"/>
          <a:lstStyle>
            <a:lvl1pPr>
              <a:defRPr sz="3000"/>
            </a:lvl1pPr>
          </a:lstStyle>
          <a:p>
            <a:pPr lvl="0"/>
            <a:r>
              <a:rPr lang="fi-FI" dirty="0"/>
              <a:t>CLICK TO ADD TITLE</a:t>
            </a:r>
            <a:endParaRPr lang="en-US" dirty="0"/>
          </a:p>
        </p:txBody>
      </p:sp>
      <p:sp>
        <p:nvSpPr>
          <p:cNvPr id="13" name="Text Placeholder 2"/>
          <p:cNvSpPr>
            <a:spLocks noGrp="1"/>
          </p:cNvSpPr>
          <p:nvPr>
            <p:ph idx="1" hasCustomPrompt="1"/>
          </p:nvPr>
        </p:nvSpPr>
        <p:spPr bwMode="auto">
          <a:xfrm>
            <a:off x="763200" y="2996953"/>
            <a:ext cx="5907600" cy="3169848"/>
          </a:xfrm>
          <a:prstGeom prst="rect">
            <a:avLst/>
          </a:prstGeom>
          <a:noFill/>
          <a:ln w="9525">
            <a:noFill/>
            <a:miter lim="800000"/>
            <a:headEnd/>
            <a:tailEnd/>
          </a:ln>
        </p:spPr>
        <p:txBody>
          <a:bodyPr lIns="91440" tIns="45720" rIns="91440" bIns="45720"/>
          <a:lstStyle>
            <a:lvl1pPr marL="342900" indent="-250825">
              <a:lnSpc>
                <a:spcPct val="80000"/>
              </a:lnSpc>
              <a:buClr>
                <a:schemeClr val="tx1"/>
              </a:buClr>
              <a:buFont typeface="Arial"/>
              <a:buChar char="•"/>
              <a:defRPr>
                <a:latin typeface="Gotham Narrow Book"/>
                <a:cs typeface="Gotham Narrow Book"/>
              </a:defRPr>
            </a:lvl1pPr>
            <a:lvl2pPr marL="725488" indent="-342900">
              <a:lnSpc>
                <a:spcPct val="80000"/>
              </a:lnSpc>
              <a:buFont typeface="Arial"/>
              <a:buChar char="•"/>
              <a:defRPr>
                <a:latin typeface="Gotham Narrow Book"/>
                <a:cs typeface="Gotham Narrow Book"/>
              </a:defRPr>
            </a:lvl2pPr>
            <a:lvl3pPr>
              <a:lnSpc>
                <a:spcPct val="80000"/>
              </a:lnSpc>
              <a:defRPr>
                <a:latin typeface="Gotham Narrow Book"/>
                <a:cs typeface="Gotham Narrow Book"/>
              </a:defRPr>
            </a:lvl3pPr>
            <a:lvl4pPr>
              <a:lnSpc>
                <a:spcPct val="80000"/>
              </a:lnSpc>
              <a:defRPr>
                <a:latin typeface="Gotham Narrow Book"/>
                <a:cs typeface="Gotham Narrow Book"/>
              </a:defRPr>
            </a:lvl4pPr>
            <a:lvl5pPr>
              <a:lnSpc>
                <a:spcPct val="80000"/>
              </a:lnSpc>
              <a:defRPr>
                <a:latin typeface="Gotham Narrow Book"/>
                <a:cs typeface="Gotham Narrow Book"/>
              </a:defRPr>
            </a:lvl5pPr>
          </a:lstStyle>
          <a:p>
            <a:pPr lvl="0"/>
            <a:r>
              <a:rPr lang="fi-FI" noProof="0" dirty="0" err="1"/>
              <a:t>Click</a:t>
            </a:r>
            <a:r>
              <a:rPr lang="fi-FI" noProof="0" dirty="0"/>
              <a:t> to </a:t>
            </a:r>
            <a:r>
              <a:rPr lang="fi-FI" noProof="0" dirty="0" err="1"/>
              <a:t>add</a:t>
            </a:r>
            <a:r>
              <a:rPr lang="fi-FI" noProof="0" dirty="0"/>
              <a:t> </a:t>
            </a:r>
            <a:r>
              <a:rPr lang="fi-FI" noProof="0" dirty="0" err="1"/>
              <a:t>text</a:t>
            </a:r>
            <a:endParaRPr lang="fi-FI" noProof="0" dirty="0"/>
          </a:p>
          <a:p>
            <a:pPr lvl="1"/>
            <a:r>
              <a:rPr lang="fi-FI" noProof="0" dirty="0"/>
              <a:t>Second </a:t>
            </a:r>
            <a:r>
              <a:rPr lang="fi-FI" noProof="0" dirty="0" err="1"/>
              <a:t>level</a:t>
            </a:r>
            <a:endParaRPr lang="fi-FI" noProof="0" dirty="0"/>
          </a:p>
          <a:p>
            <a:pPr lvl="2"/>
            <a:r>
              <a:rPr lang="fi-FI" noProof="0" dirty="0"/>
              <a:t>Third </a:t>
            </a:r>
            <a:r>
              <a:rPr lang="fi-FI" noProof="0" dirty="0" err="1"/>
              <a:t>level</a:t>
            </a:r>
            <a:endParaRPr lang="fi-FI" noProof="0" dirty="0"/>
          </a:p>
          <a:p>
            <a:pPr lvl="3"/>
            <a:r>
              <a:rPr lang="fi-FI" noProof="0" dirty="0" err="1"/>
              <a:t>Fourth</a:t>
            </a:r>
            <a:r>
              <a:rPr lang="fi-FI" noProof="0" dirty="0"/>
              <a:t> </a:t>
            </a:r>
            <a:r>
              <a:rPr lang="fi-FI" noProof="0" dirty="0" err="1"/>
              <a:t>level</a:t>
            </a:r>
            <a:endParaRPr lang="fi-FI" noProof="0" dirty="0"/>
          </a:p>
          <a:p>
            <a:pPr lvl="4"/>
            <a:r>
              <a:rPr lang="fi-FI" noProof="0" dirty="0" err="1"/>
              <a:t>Fifth</a:t>
            </a:r>
            <a:r>
              <a:rPr lang="fi-FI" noProof="0" dirty="0"/>
              <a:t> </a:t>
            </a:r>
            <a:r>
              <a:rPr lang="fi-FI" noProof="0" dirty="0" err="1"/>
              <a:t>level</a:t>
            </a:r>
            <a:endParaRPr lang="en-US" noProof="0" dirty="0"/>
          </a:p>
        </p:txBody>
      </p:sp>
      <p:sp>
        <p:nvSpPr>
          <p:cNvPr id="14" name="Picture Placeholder 2"/>
          <p:cNvSpPr>
            <a:spLocks noGrp="1"/>
          </p:cNvSpPr>
          <p:nvPr>
            <p:ph type="pic" sz="quarter" idx="13" hasCustomPrompt="1"/>
          </p:nvPr>
        </p:nvSpPr>
        <p:spPr>
          <a:xfrm>
            <a:off x="6768000" y="254000"/>
            <a:ext cx="5080000" cy="2952750"/>
          </a:xfrm>
          <a:solidFill>
            <a:srgbClr val="7F7F7F"/>
          </a:solidFill>
        </p:spPr>
        <p:txBody>
          <a:bodyPr anchor="ctr"/>
          <a:lstStyle>
            <a:lvl1pPr marL="342900" marR="0" indent="-342900" algn="ctr" defTabSz="914400" rtl="0" eaLnBrk="1" fontAlgn="base" latinLnBrk="0" hangingPunct="1">
              <a:lnSpc>
                <a:spcPct val="100000"/>
              </a:lnSpc>
              <a:spcBef>
                <a:spcPct val="0"/>
              </a:spcBef>
              <a:spcAft>
                <a:spcPct val="50000"/>
              </a:spcAft>
              <a:buClr>
                <a:schemeClr val="accent1"/>
              </a:buClr>
              <a:buSzPct val="100000"/>
              <a:buFontTx/>
              <a:buNone/>
              <a:tabLst/>
              <a:defRPr b="0" i="0">
                <a:latin typeface="+mj-lt"/>
                <a:cs typeface="Gotham-Bold"/>
              </a:defRPr>
            </a:lvl1pPr>
          </a:lstStyle>
          <a:p>
            <a:r>
              <a:rPr lang="en-US" dirty="0"/>
              <a:t>Click icon to add picture</a:t>
            </a:r>
          </a:p>
        </p:txBody>
      </p:sp>
      <p:sp>
        <p:nvSpPr>
          <p:cNvPr id="15" name="Picture Placeholder 2"/>
          <p:cNvSpPr>
            <a:spLocks noGrp="1"/>
          </p:cNvSpPr>
          <p:nvPr>
            <p:ph type="pic" sz="quarter" idx="14" hasCustomPrompt="1"/>
          </p:nvPr>
        </p:nvSpPr>
        <p:spPr>
          <a:xfrm>
            <a:off x="6768075" y="3212976"/>
            <a:ext cx="5080000" cy="2952750"/>
          </a:xfrm>
          <a:solidFill>
            <a:schemeClr val="tx1">
              <a:lumMod val="65000"/>
              <a:lumOff val="35000"/>
            </a:schemeClr>
          </a:solidFill>
        </p:spPr>
        <p:txBody>
          <a:bodyPr anchor="ctr"/>
          <a:lstStyle>
            <a:lvl1pPr marL="342900" marR="0" indent="-342900" algn="ctr" defTabSz="914400" rtl="0" eaLnBrk="1" fontAlgn="base" latinLnBrk="0" hangingPunct="1">
              <a:lnSpc>
                <a:spcPct val="100000"/>
              </a:lnSpc>
              <a:spcBef>
                <a:spcPct val="0"/>
              </a:spcBef>
              <a:spcAft>
                <a:spcPct val="50000"/>
              </a:spcAft>
              <a:buClr>
                <a:schemeClr val="accent1"/>
              </a:buClr>
              <a:buSzPct val="100000"/>
              <a:buFontTx/>
              <a:buNone/>
              <a:tabLst/>
              <a:defRPr b="0" i="0">
                <a:latin typeface="+mj-lt"/>
                <a:cs typeface="Gotham-Bold"/>
              </a:defRPr>
            </a:lvl1pPr>
          </a:lstStyle>
          <a:p>
            <a:r>
              <a:rPr lang="en-US" dirty="0"/>
              <a:t>Click icon to add picture</a:t>
            </a:r>
          </a:p>
        </p:txBody>
      </p:sp>
      <p:sp>
        <p:nvSpPr>
          <p:cNvPr id="2" name="Päivämäärän paikkamerkki 1"/>
          <p:cNvSpPr>
            <a:spLocks noGrp="1"/>
          </p:cNvSpPr>
          <p:nvPr>
            <p:ph type="dt" sz="half" idx="15"/>
          </p:nvPr>
        </p:nvSpPr>
        <p:spPr/>
        <p:txBody>
          <a:bodyPr/>
          <a:lstStyle/>
          <a:p>
            <a:pPr>
              <a:defRPr/>
            </a:pPr>
            <a:fld id="{C1232025-848E-4C1B-A0F3-5B2B3D457463}" type="datetime1">
              <a:rPr lang="en-GB" smtClean="0"/>
              <a:t>22/08/2025</a:t>
            </a:fld>
            <a:endParaRPr lang="fi-FI" dirty="0"/>
          </a:p>
        </p:txBody>
      </p:sp>
      <p:sp>
        <p:nvSpPr>
          <p:cNvPr id="6" name="Alatunnisteen paikkamerkki 5"/>
          <p:cNvSpPr>
            <a:spLocks noGrp="1"/>
          </p:cNvSpPr>
          <p:nvPr>
            <p:ph type="ftr" sz="quarter" idx="16"/>
          </p:nvPr>
        </p:nvSpPr>
        <p:spPr/>
        <p:txBody>
          <a:bodyPr/>
          <a:lstStyle/>
          <a:p>
            <a:r>
              <a:rPr lang="fi-FI"/>
              <a:t>Presentation Name / Firstname Lastname</a:t>
            </a:r>
            <a:endParaRPr lang="fi-FI" dirty="0"/>
          </a:p>
        </p:txBody>
      </p:sp>
      <p:sp>
        <p:nvSpPr>
          <p:cNvPr id="7" name="Dian numeron paikkamerkki 6"/>
          <p:cNvSpPr>
            <a:spLocks noGrp="1"/>
          </p:cNvSpPr>
          <p:nvPr>
            <p:ph type="sldNum" sz="quarter" idx="17"/>
          </p:nvPr>
        </p:nvSpPr>
        <p:spPr/>
        <p:txBody>
          <a:bodyPr/>
          <a:lstStyle/>
          <a:p>
            <a:pPr>
              <a:defRPr/>
            </a:pPr>
            <a:fld id="{4669315E-5A66-CF44-AE5D-C333B2F730C4}" type="slidenum">
              <a:rPr lang="en-GB" smtClean="0"/>
              <a:pPr>
                <a:defRPr/>
              </a:pPr>
              <a:t>‹#›</a:t>
            </a:fld>
            <a:endParaRPr lang="en-GB" dirty="0"/>
          </a:p>
        </p:txBody>
      </p:sp>
    </p:spTree>
    <p:extLst>
      <p:ext uri="{BB962C8B-B14F-4D97-AF65-F5344CB8AC3E}">
        <p14:creationId xmlns:p14="http://schemas.microsoft.com/office/powerpoint/2010/main" val="4080302261"/>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114833-1A40-4BB0-B945-21539E6795E9}"/>
              </a:ext>
            </a:extLst>
          </p:cNvPr>
          <p:cNvGraphicFramePr>
            <a:graphicFrameLocks noChangeAspect="1"/>
          </p:cNvGraphicFramePr>
          <p:nvPr userDrawn="1">
            <p:custDataLst>
              <p:tags r:id="rId18"/>
            </p:custDataLst>
            <p:extLst>
              <p:ext uri="{D42A27DB-BD31-4B8C-83A1-F6EECF244321}">
                <p14:modId xmlns:p14="http://schemas.microsoft.com/office/powerpoint/2010/main" val="1580656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624" imgH="623" progId="TCLayout.ActiveDocument.1">
                  <p:embed/>
                </p:oleObj>
              </mc:Choice>
              <mc:Fallback>
                <p:oleObj name="think-cell Slide" r:id="rId19" imgW="624" imgH="623" progId="TCLayout.ActiveDocument.1">
                  <p:embed/>
                  <p:pic>
                    <p:nvPicPr>
                      <p:cNvPr id="4" name="Object 3" hidden="1">
                        <a:extLst>
                          <a:ext uri="{FF2B5EF4-FFF2-40B4-BE49-F238E27FC236}">
                            <a16:creationId xmlns:a16="http://schemas.microsoft.com/office/drawing/2014/main" id="{08114833-1A40-4BB0-B945-21539E6795E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1081" name="Kuva 1080"/>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300549" y="6238875"/>
            <a:ext cx="2086443" cy="551025"/>
          </a:xfrm>
          <a:prstGeom prst="rect">
            <a:avLst/>
          </a:prstGeom>
        </p:spPr>
      </p:pic>
      <p:pic>
        <p:nvPicPr>
          <p:cNvPr id="10" name="Kuva 9"/>
          <p:cNvPicPr>
            <a:picLocks noChangeAspect="1"/>
          </p:cNvPicPr>
          <p:nvPr userDrawn="1"/>
        </p:nvPicPr>
        <p:blipFill rotWithShape="1">
          <a:blip r:embed="rId22" cstate="email">
            <a:extLst>
              <a:ext uri="{28A0092B-C50C-407E-A947-70E740481C1C}">
                <a14:useLocalDpi xmlns:a14="http://schemas.microsoft.com/office/drawing/2010/main" val="0"/>
              </a:ext>
            </a:extLst>
          </a:blip>
          <a:srcRect r="-6"/>
          <a:stretch/>
        </p:blipFill>
        <p:spPr bwMode="hidden">
          <a:xfrm>
            <a:off x="338667" y="254000"/>
            <a:ext cx="11514667" cy="5905500"/>
          </a:xfrm>
          <a:prstGeom prst="rect">
            <a:avLst/>
          </a:prstGeom>
        </p:spPr>
      </p:pic>
      <p:sp>
        <p:nvSpPr>
          <p:cNvPr id="1027" name="Title Placeholder 1"/>
          <p:cNvSpPr>
            <a:spLocks noGrp="1"/>
          </p:cNvSpPr>
          <p:nvPr>
            <p:ph type="title"/>
          </p:nvPr>
        </p:nvSpPr>
        <p:spPr bwMode="auto">
          <a:xfrm>
            <a:off x="2063552" y="802411"/>
            <a:ext cx="9722048" cy="9704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1028" name="Text Placeholder 2"/>
          <p:cNvSpPr>
            <a:spLocks noGrp="1"/>
          </p:cNvSpPr>
          <p:nvPr>
            <p:ph type="body" idx="1"/>
          </p:nvPr>
        </p:nvSpPr>
        <p:spPr bwMode="auto">
          <a:xfrm>
            <a:off x="2063552" y="1981200"/>
            <a:ext cx="9722048" cy="396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3"/>
          <p:cNvSpPr>
            <a:spLocks noGrp="1"/>
          </p:cNvSpPr>
          <p:nvPr>
            <p:ph type="dt" sz="half" idx="2"/>
          </p:nvPr>
        </p:nvSpPr>
        <p:spPr bwMode="auto">
          <a:xfrm>
            <a:off x="10261600" y="6189117"/>
            <a:ext cx="914400" cy="57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lvl1pPr algn="r">
              <a:defRPr sz="900" b="0" dirty="0" smtClean="0">
                <a:solidFill>
                  <a:srgbClr val="000000"/>
                </a:solidFill>
                <a:latin typeface="+mn-lt"/>
              </a:defRPr>
            </a:lvl1pPr>
          </a:lstStyle>
          <a:p>
            <a:pPr>
              <a:defRPr/>
            </a:pPr>
            <a:fld id="{DD08BD52-FDAE-42AB-8313-0991B6AE4759}" type="datetime1">
              <a:rPr lang="en-GB" smtClean="0"/>
              <a:pPr>
                <a:defRPr/>
              </a:pPr>
              <a:t>22/08/2025</a:t>
            </a:fld>
            <a:endParaRPr lang="fi-FI"/>
          </a:p>
        </p:txBody>
      </p:sp>
      <p:sp>
        <p:nvSpPr>
          <p:cNvPr id="9" name="Slide Number Placeholder 5"/>
          <p:cNvSpPr>
            <a:spLocks noGrp="1"/>
          </p:cNvSpPr>
          <p:nvPr>
            <p:ph type="sldNum" sz="quarter" idx="4"/>
          </p:nvPr>
        </p:nvSpPr>
        <p:spPr bwMode="auto">
          <a:xfrm>
            <a:off x="11176000" y="6189117"/>
            <a:ext cx="680640" cy="57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lvl1pPr algn="r">
              <a:defRPr sz="900" b="0" dirty="0" smtClean="0">
                <a:solidFill>
                  <a:srgbClr val="000000"/>
                </a:solidFill>
                <a:latin typeface="+mn-lt"/>
              </a:defRPr>
            </a:lvl1pPr>
          </a:lstStyle>
          <a:p>
            <a:pPr>
              <a:defRPr/>
            </a:pPr>
            <a:fld id="{4669315E-5A66-CF44-AE5D-C333B2F730C4}" type="slidenum">
              <a:rPr lang="en-GB" smtClean="0"/>
              <a:pPr>
                <a:defRPr/>
              </a:pPr>
              <a:t>‹#›</a:t>
            </a:fld>
            <a:endParaRPr lang="en-GB"/>
          </a:p>
        </p:txBody>
      </p:sp>
      <p:sp>
        <p:nvSpPr>
          <p:cNvPr id="3" name="Alatunnisteen paikkamerkki 2"/>
          <p:cNvSpPr>
            <a:spLocks noGrp="1"/>
          </p:cNvSpPr>
          <p:nvPr>
            <p:ph type="ftr" sz="quarter" idx="3"/>
          </p:nvPr>
        </p:nvSpPr>
        <p:spPr>
          <a:xfrm>
            <a:off x="6768000" y="6189217"/>
            <a:ext cx="3744000" cy="576000"/>
          </a:xfrm>
          <a:prstGeom prst="rect">
            <a:avLst/>
          </a:prstGeom>
        </p:spPr>
        <p:txBody>
          <a:bodyPr vert="horz" lIns="0" tIns="0" rIns="0" bIns="0" rtlCol="0" anchor="b" anchorCtr="0"/>
          <a:lstStyle>
            <a:lvl1pPr algn="l">
              <a:defRPr sz="900">
                <a:solidFill>
                  <a:schemeClr val="tx1"/>
                </a:solidFill>
                <a:latin typeface="+mn-lt"/>
              </a:defRPr>
            </a:lvl1pPr>
          </a:lstStyle>
          <a:p>
            <a:r>
              <a:rPr lang="fi-FI"/>
              <a:t>Presentation Name / Firstname Lastname</a:t>
            </a:r>
            <a:endParaRPr lang="fi-FI" dirty="0"/>
          </a:p>
        </p:txBody>
      </p:sp>
      <p:grpSp>
        <p:nvGrpSpPr>
          <p:cNvPr id="12" name="Ryhmä 11"/>
          <p:cNvGrpSpPr/>
          <p:nvPr userDrawn="1"/>
        </p:nvGrpSpPr>
        <p:grpSpPr bwMode="black">
          <a:xfrm>
            <a:off x="334478" y="263539"/>
            <a:ext cx="1397690" cy="1309952"/>
            <a:chOff x="1311275" y="373063"/>
            <a:chExt cx="6524625" cy="6115050"/>
          </a:xfrm>
          <a:solidFill>
            <a:srgbClr val="00A39A"/>
          </a:solidFill>
        </p:grpSpPr>
        <p:sp>
          <p:nvSpPr>
            <p:cNvPr id="13" name="Rectangle 5"/>
            <p:cNvSpPr>
              <a:spLocks noChangeArrowheads="1"/>
            </p:cNvSpPr>
            <p:nvPr userDrawn="1"/>
          </p:nvSpPr>
          <p:spPr bwMode="black">
            <a:xfrm>
              <a:off x="4267200" y="5875338"/>
              <a:ext cx="609600" cy="612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endParaRPr lang="fi-FI"/>
            </a:p>
          </p:txBody>
        </p:sp>
        <p:sp>
          <p:nvSpPr>
            <p:cNvPr id="14" name="Rectangle 6"/>
            <p:cNvSpPr>
              <a:spLocks noChangeArrowheads="1"/>
            </p:cNvSpPr>
            <p:nvPr userDrawn="1"/>
          </p:nvSpPr>
          <p:spPr bwMode="black">
            <a:xfrm>
              <a:off x="4267200" y="373063"/>
              <a:ext cx="609600" cy="609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endParaRPr lang="fi-FI"/>
            </a:p>
          </p:txBody>
        </p:sp>
        <p:sp>
          <p:nvSpPr>
            <p:cNvPr id="15" name="Freeform 7"/>
            <p:cNvSpPr>
              <a:spLocks noEditPoints="1"/>
            </p:cNvSpPr>
            <p:nvPr userDrawn="1"/>
          </p:nvSpPr>
          <p:spPr bwMode="black">
            <a:xfrm>
              <a:off x="1311275" y="1436688"/>
              <a:ext cx="6524625" cy="4152900"/>
            </a:xfrm>
            <a:custGeom>
              <a:avLst/>
              <a:gdLst>
                <a:gd name="T0" fmla="*/ 3947 w 4110"/>
                <a:gd name="T1" fmla="*/ 1670 h 2616"/>
                <a:gd name="T2" fmla="*/ 3459 w 4110"/>
                <a:gd name="T3" fmla="*/ 1403 h 2616"/>
                <a:gd name="T4" fmla="*/ 3294 w 4110"/>
                <a:gd name="T5" fmla="*/ 1199 h 2616"/>
                <a:gd name="T6" fmla="*/ 3062 w 4110"/>
                <a:gd name="T7" fmla="*/ 1048 h 2616"/>
                <a:gd name="T8" fmla="*/ 2897 w 4110"/>
                <a:gd name="T9" fmla="*/ 789 h 2616"/>
                <a:gd name="T10" fmla="*/ 2734 w 4110"/>
                <a:gd name="T11" fmla="*/ 314 h 2616"/>
                <a:gd name="T12" fmla="*/ 2417 w 4110"/>
                <a:gd name="T13" fmla="*/ 63 h 2616"/>
                <a:gd name="T14" fmla="*/ 2077 w 4110"/>
                <a:gd name="T15" fmla="*/ 19 h 2616"/>
                <a:gd name="T16" fmla="*/ 2204 w 4110"/>
                <a:gd name="T17" fmla="*/ 197 h 2616"/>
                <a:gd name="T18" fmla="*/ 2175 w 4110"/>
                <a:gd name="T19" fmla="*/ 357 h 2616"/>
                <a:gd name="T20" fmla="*/ 2041 w 4110"/>
                <a:gd name="T21" fmla="*/ 433 h 2616"/>
                <a:gd name="T22" fmla="*/ 1818 w 4110"/>
                <a:gd name="T23" fmla="*/ 362 h 2616"/>
                <a:gd name="T24" fmla="*/ 1518 w 4110"/>
                <a:gd name="T25" fmla="*/ 159 h 2616"/>
                <a:gd name="T26" fmla="*/ 1213 w 4110"/>
                <a:gd name="T27" fmla="*/ 130 h 2616"/>
                <a:gd name="T28" fmla="*/ 1198 w 4110"/>
                <a:gd name="T29" fmla="*/ 209 h 2616"/>
                <a:gd name="T30" fmla="*/ 1401 w 4110"/>
                <a:gd name="T31" fmla="*/ 481 h 2616"/>
                <a:gd name="T32" fmla="*/ 1555 w 4110"/>
                <a:gd name="T33" fmla="*/ 708 h 2616"/>
                <a:gd name="T34" fmla="*/ 1672 w 4110"/>
                <a:gd name="T35" fmla="*/ 796 h 2616"/>
                <a:gd name="T36" fmla="*/ 1405 w 4110"/>
                <a:gd name="T37" fmla="*/ 787 h 2616"/>
                <a:gd name="T38" fmla="*/ 1102 w 4110"/>
                <a:gd name="T39" fmla="*/ 558 h 2616"/>
                <a:gd name="T40" fmla="*/ 821 w 4110"/>
                <a:gd name="T41" fmla="*/ 395 h 2616"/>
                <a:gd name="T42" fmla="*/ 531 w 4110"/>
                <a:gd name="T43" fmla="*/ 426 h 2616"/>
                <a:gd name="T44" fmla="*/ 748 w 4110"/>
                <a:gd name="T45" fmla="*/ 537 h 2616"/>
                <a:gd name="T46" fmla="*/ 762 w 4110"/>
                <a:gd name="T47" fmla="*/ 704 h 2616"/>
                <a:gd name="T48" fmla="*/ 608 w 4110"/>
                <a:gd name="T49" fmla="*/ 689 h 2616"/>
                <a:gd name="T50" fmla="*/ 387 w 4110"/>
                <a:gd name="T51" fmla="*/ 529 h 2616"/>
                <a:gd name="T52" fmla="*/ 103 w 4110"/>
                <a:gd name="T53" fmla="*/ 499 h 2616"/>
                <a:gd name="T54" fmla="*/ 157 w 4110"/>
                <a:gd name="T55" fmla="*/ 597 h 2616"/>
                <a:gd name="T56" fmla="*/ 397 w 4110"/>
                <a:gd name="T57" fmla="*/ 913 h 2616"/>
                <a:gd name="T58" fmla="*/ 578 w 4110"/>
                <a:gd name="T59" fmla="*/ 1190 h 2616"/>
                <a:gd name="T60" fmla="*/ 954 w 4110"/>
                <a:gd name="T61" fmla="*/ 1253 h 2616"/>
                <a:gd name="T62" fmla="*/ 1184 w 4110"/>
                <a:gd name="T63" fmla="*/ 1316 h 2616"/>
                <a:gd name="T64" fmla="*/ 1250 w 4110"/>
                <a:gd name="T65" fmla="*/ 1526 h 2616"/>
                <a:gd name="T66" fmla="*/ 1365 w 4110"/>
                <a:gd name="T67" fmla="*/ 1691 h 2616"/>
                <a:gd name="T68" fmla="*/ 1601 w 4110"/>
                <a:gd name="T69" fmla="*/ 1766 h 2616"/>
                <a:gd name="T70" fmla="*/ 1384 w 4110"/>
                <a:gd name="T71" fmla="*/ 1823 h 2616"/>
                <a:gd name="T72" fmla="*/ 965 w 4110"/>
                <a:gd name="T73" fmla="*/ 1706 h 2616"/>
                <a:gd name="T74" fmla="*/ 971 w 4110"/>
                <a:gd name="T75" fmla="*/ 1890 h 2616"/>
                <a:gd name="T76" fmla="*/ 1173 w 4110"/>
                <a:gd name="T77" fmla="*/ 2136 h 2616"/>
                <a:gd name="T78" fmla="*/ 1534 w 4110"/>
                <a:gd name="T79" fmla="*/ 2226 h 2616"/>
                <a:gd name="T80" fmla="*/ 1883 w 4110"/>
                <a:gd name="T81" fmla="*/ 2182 h 2616"/>
                <a:gd name="T82" fmla="*/ 1985 w 4110"/>
                <a:gd name="T83" fmla="*/ 2299 h 2616"/>
                <a:gd name="T84" fmla="*/ 2154 w 4110"/>
                <a:gd name="T85" fmla="*/ 2418 h 2616"/>
                <a:gd name="T86" fmla="*/ 2476 w 4110"/>
                <a:gd name="T87" fmla="*/ 2413 h 2616"/>
                <a:gd name="T88" fmla="*/ 2797 w 4110"/>
                <a:gd name="T89" fmla="*/ 2585 h 2616"/>
                <a:gd name="T90" fmla="*/ 2803 w 4110"/>
                <a:gd name="T91" fmla="*/ 2395 h 2616"/>
                <a:gd name="T92" fmla="*/ 2594 w 4110"/>
                <a:gd name="T93" fmla="*/ 2119 h 2616"/>
                <a:gd name="T94" fmla="*/ 2403 w 4110"/>
                <a:gd name="T95" fmla="*/ 1960 h 2616"/>
                <a:gd name="T96" fmla="*/ 2426 w 4110"/>
                <a:gd name="T97" fmla="*/ 1890 h 2616"/>
                <a:gd name="T98" fmla="*/ 2663 w 4110"/>
                <a:gd name="T99" fmla="*/ 1996 h 2616"/>
                <a:gd name="T100" fmla="*/ 3012 w 4110"/>
                <a:gd name="T101" fmla="*/ 2088 h 2616"/>
                <a:gd name="T102" fmla="*/ 3156 w 4110"/>
                <a:gd name="T103" fmla="*/ 2125 h 2616"/>
                <a:gd name="T104" fmla="*/ 3035 w 4110"/>
                <a:gd name="T105" fmla="*/ 1900 h 2616"/>
                <a:gd name="T106" fmla="*/ 2837 w 4110"/>
                <a:gd name="T107" fmla="*/ 1698 h 2616"/>
                <a:gd name="T108" fmla="*/ 3185 w 4110"/>
                <a:gd name="T109" fmla="*/ 1746 h 2616"/>
                <a:gd name="T110" fmla="*/ 3440 w 4110"/>
                <a:gd name="T111" fmla="*/ 1741 h 2616"/>
                <a:gd name="T112" fmla="*/ 3596 w 4110"/>
                <a:gd name="T113" fmla="*/ 1842 h 2616"/>
                <a:gd name="T114" fmla="*/ 3951 w 4110"/>
                <a:gd name="T115" fmla="*/ 1816 h 2616"/>
                <a:gd name="T116" fmla="*/ 2246 w 4110"/>
                <a:gd name="T117" fmla="*/ 1449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10" h="2616">
                  <a:moveTo>
                    <a:pt x="4110" y="1887"/>
                  </a:moveTo>
                  <a:lnTo>
                    <a:pt x="4095" y="1858"/>
                  </a:lnTo>
                  <a:lnTo>
                    <a:pt x="4080" y="1829"/>
                  </a:lnTo>
                  <a:lnTo>
                    <a:pt x="4062" y="1802"/>
                  </a:lnTo>
                  <a:lnTo>
                    <a:pt x="4045" y="1777"/>
                  </a:lnTo>
                  <a:lnTo>
                    <a:pt x="4028" y="1754"/>
                  </a:lnTo>
                  <a:lnTo>
                    <a:pt x="4009" y="1731"/>
                  </a:lnTo>
                  <a:lnTo>
                    <a:pt x="3989" y="1710"/>
                  </a:lnTo>
                  <a:lnTo>
                    <a:pt x="3968" y="1689"/>
                  </a:lnTo>
                  <a:lnTo>
                    <a:pt x="3947" y="1670"/>
                  </a:lnTo>
                  <a:lnTo>
                    <a:pt x="3926" y="1652"/>
                  </a:lnTo>
                  <a:lnTo>
                    <a:pt x="3903" y="1635"/>
                  </a:lnTo>
                  <a:lnTo>
                    <a:pt x="3882" y="1618"/>
                  </a:lnTo>
                  <a:lnTo>
                    <a:pt x="3834" y="1589"/>
                  </a:lnTo>
                  <a:lnTo>
                    <a:pt x="3788" y="1560"/>
                  </a:lnTo>
                  <a:lnTo>
                    <a:pt x="3690" y="1512"/>
                  </a:lnTo>
                  <a:lnTo>
                    <a:pt x="3594" y="1468"/>
                  </a:lnTo>
                  <a:lnTo>
                    <a:pt x="3548" y="1447"/>
                  </a:lnTo>
                  <a:lnTo>
                    <a:pt x="3504" y="1426"/>
                  </a:lnTo>
                  <a:lnTo>
                    <a:pt x="3459" y="1403"/>
                  </a:lnTo>
                  <a:lnTo>
                    <a:pt x="3419" y="1378"/>
                  </a:lnTo>
                  <a:lnTo>
                    <a:pt x="3402" y="1364"/>
                  </a:lnTo>
                  <a:lnTo>
                    <a:pt x="3385" y="1351"/>
                  </a:lnTo>
                  <a:lnTo>
                    <a:pt x="3369" y="1336"/>
                  </a:lnTo>
                  <a:lnTo>
                    <a:pt x="3356" y="1318"/>
                  </a:lnTo>
                  <a:lnTo>
                    <a:pt x="3342" y="1299"/>
                  </a:lnTo>
                  <a:lnTo>
                    <a:pt x="3331" y="1282"/>
                  </a:lnTo>
                  <a:lnTo>
                    <a:pt x="3319" y="1263"/>
                  </a:lnTo>
                  <a:lnTo>
                    <a:pt x="3310" y="1242"/>
                  </a:lnTo>
                  <a:lnTo>
                    <a:pt x="3294" y="1199"/>
                  </a:lnTo>
                  <a:lnTo>
                    <a:pt x="3281" y="1157"/>
                  </a:lnTo>
                  <a:lnTo>
                    <a:pt x="3271" y="1115"/>
                  </a:lnTo>
                  <a:lnTo>
                    <a:pt x="3264" y="1073"/>
                  </a:lnTo>
                  <a:lnTo>
                    <a:pt x="3223" y="1076"/>
                  </a:lnTo>
                  <a:lnTo>
                    <a:pt x="3179" y="1076"/>
                  </a:lnTo>
                  <a:lnTo>
                    <a:pt x="3156" y="1075"/>
                  </a:lnTo>
                  <a:lnTo>
                    <a:pt x="3133" y="1071"/>
                  </a:lnTo>
                  <a:lnTo>
                    <a:pt x="3110" y="1065"/>
                  </a:lnTo>
                  <a:lnTo>
                    <a:pt x="3087" y="1057"/>
                  </a:lnTo>
                  <a:lnTo>
                    <a:pt x="3062" y="1048"/>
                  </a:lnTo>
                  <a:lnTo>
                    <a:pt x="3039" y="1034"/>
                  </a:lnTo>
                  <a:lnTo>
                    <a:pt x="3018" y="1019"/>
                  </a:lnTo>
                  <a:lnTo>
                    <a:pt x="2997" y="1000"/>
                  </a:lnTo>
                  <a:lnTo>
                    <a:pt x="2976" y="979"/>
                  </a:lnTo>
                  <a:lnTo>
                    <a:pt x="2956" y="952"/>
                  </a:lnTo>
                  <a:lnTo>
                    <a:pt x="2939" y="921"/>
                  </a:lnTo>
                  <a:lnTo>
                    <a:pt x="2924" y="886"/>
                  </a:lnTo>
                  <a:lnTo>
                    <a:pt x="2912" y="856"/>
                  </a:lnTo>
                  <a:lnTo>
                    <a:pt x="2905" y="823"/>
                  </a:lnTo>
                  <a:lnTo>
                    <a:pt x="2897" y="789"/>
                  </a:lnTo>
                  <a:lnTo>
                    <a:pt x="2889" y="752"/>
                  </a:lnTo>
                  <a:lnTo>
                    <a:pt x="2874" y="675"/>
                  </a:lnTo>
                  <a:lnTo>
                    <a:pt x="2857" y="593"/>
                  </a:lnTo>
                  <a:lnTo>
                    <a:pt x="2845" y="550"/>
                  </a:lnTo>
                  <a:lnTo>
                    <a:pt x="2834" y="508"/>
                  </a:lnTo>
                  <a:lnTo>
                    <a:pt x="2816" y="464"/>
                  </a:lnTo>
                  <a:lnTo>
                    <a:pt x="2797" y="422"/>
                  </a:lnTo>
                  <a:lnTo>
                    <a:pt x="2776" y="378"/>
                  </a:lnTo>
                  <a:lnTo>
                    <a:pt x="2749" y="335"/>
                  </a:lnTo>
                  <a:lnTo>
                    <a:pt x="2734" y="314"/>
                  </a:lnTo>
                  <a:lnTo>
                    <a:pt x="2718" y="293"/>
                  </a:lnTo>
                  <a:lnTo>
                    <a:pt x="2701" y="272"/>
                  </a:lnTo>
                  <a:lnTo>
                    <a:pt x="2682" y="251"/>
                  </a:lnTo>
                  <a:lnTo>
                    <a:pt x="2647" y="216"/>
                  </a:lnTo>
                  <a:lnTo>
                    <a:pt x="2611" y="184"/>
                  </a:lnTo>
                  <a:lnTo>
                    <a:pt x="2572" y="153"/>
                  </a:lnTo>
                  <a:lnTo>
                    <a:pt x="2534" y="126"/>
                  </a:lnTo>
                  <a:lnTo>
                    <a:pt x="2496" y="101"/>
                  </a:lnTo>
                  <a:lnTo>
                    <a:pt x="2457" y="80"/>
                  </a:lnTo>
                  <a:lnTo>
                    <a:pt x="2417" y="63"/>
                  </a:lnTo>
                  <a:lnTo>
                    <a:pt x="2377" y="46"/>
                  </a:lnTo>
                  <a:lnTo>
                    <a:pt x="2336" y="32"/>
                  </a:lnTo>
                  <a:lnTo>
                    <a:pt x="2296" y="21"/>
                  </a:lnTo>
                  <a:lnTo>
                    <a:pt x="2256" y="13"/>
                  </a:lnTo>
                  <a:lnTo>
                    <a:pt x="2215" y="5"/>
                  </a:lnTo>
                  <a:lnTo>
                    <a:pt x="2175" y="1"/>
                  </a:lnTo>
                  <a:lnTo>
                    <a:pt x="2135" y="0"/>
                  </a:lnTo>
                  <a:lnTo>
                    <a:pt x="2094" y="0"/>
                  </a:lnTo>
                  <a:lnTo>
                    <a:pt x="2054" y="1"/>
                  </a:lnTo>
                  <a:lnTo>
                    <a:pt x="2077" y="19"/>
                  </a:lnTo>
                  <a:lnTo>
                    <a:pt x="2098" y="34"/>
                  </a:lnTo>
                  <a:lnTo>
                    <a:pt x="2117" y="51"/>
                  </a:lnTo>
                  <a:lnTo>
                    <a:pt x="2135" y="71"/>
                  </a:lnTo>
                  <a:lnTo>
                    <a:pt x="2150" y="88"/>
                  </a:lnTo>
                  <a:lnTo>
                    <a:pt x="2163" y="105"/>
                  </a:lnTo>
                  <a:lnTo>
                    <a:pt x="2175" y="124"/>
                  </a:lnTo>
                  <a:lnTo>
                    <a:pt x="2185" y="142"/>
                  </a:lnTo>
                  <a:lnTo>
                    <a:pt x="2192" y="161"/>
                  </a:lnTo>
                  <a:lnTo>
                    <a:pt x="2200" y="178"/>
                  </a:lnTo>
                  <a:lnTo>
                    <a:pt x="2204" y="197"/>
                  </a:lnTo>
                  <a:lnTo>
                    <a:pt x="2208" y="215"/>
                  </a:lnTo>
                  <a:lnTo>
                    <a:pt x="2210" y="232"/>
                  </a:lnTo>
                  <a:lnTo>
                    <a:pt x="2210" y="249"/>
                  </a:lnTo>
                  <a:lnTo>
                    <a:pt x="2208" y="266"/>
                  </a:lnTo>
                  <a:lnTo>
                    <a:pt x="2206" y="284"/>
                  </a:lnTo>
                  <a:lnTo>
                    <a:pt x="2202" y="299"/>
                  </a:lnTo>
                  <a:lnTo>
                    <a:pt x="2198" y="314"/>
                  </a:lnTo>
                  <a:lnTo>
                    <a:pt x="2190" y="330"/>
                  </a:lnTo>
                  <a:lnTo>
                    <a:pt x="2183" y="343"/>
                  </a:lnTo>
                  <a:lnTo>
                    <a:pt x="2175" y="357"/>
                  </a:lnTo>
                  <a:lnTo>
                    <a:pt x="2165" y="370"/>
                  </a:lnTo>
                  <a:lnTo>
                    <a:pt x="2156" y="382"/>
                  </a:lnTo>
                  <a:lnTo>
                    <a:pt x="2144" y="391"/>
                  </a:lnTo>
                  <a:lnTo>
                    <a:pt x="2131" y="401"/>
                  </a:lnTo>
                  <a:lnTo>
                    <a:pt x="2117" y="410"/>
                  </a:lnTo>
                  <a:lnTo>
                    <a:pt x="2104" y="418"/>
                  </a:lnTo>
                  <a:lnTo>
                    <a:pt x="2089" y="424"/>
                  </a:lnTo>
                  <a:lnTo>
                    <a:pt x="2073" y="428"/>
                  </a:lnTo>
                  <a:lnTo>
                    <a:pt x="2058" y="431"/>
                  </a:lnTo>
                  <a:lnTo>
                    <a:pt x="2041" y="433"/>
                  </a:lnTo>
                  <a:lnTo>
                    <a:pt x="2023" y="435"/>
                  </a:lnTo>
                  <a:lnTo>
                    <a:pt x="1998" y="433"/>
                  </a:lnTo>
                  <a:lnTo>
                    <a:pt x="1975" y="431"/>
                  </a:lnTo>
                  <a:lnTo>
                    <a:pt x="1954" y="428"/>
                  </a:lnTo>
                  <a:lnTo>
                    <a:pt x="1933" y="422"/>
                  </a:lnTo>
                  <a:lnTo>
                    <a:pt x="1912" y="414"/>
                  </a:lnTo>
                  <a:lnTo>
                    <a:pt x="1893" y="407"/>
                  </a:lnTo>
                  <a:lnTo>
                    <a:pt x="1874" y="397"/>
                  </a:lnTo>
                  <a:lnTo>
                    <a:pt x="1854" y="385"/>
                  </a:lnTo>
                  <a:lnTo>
                    <a:pt x="1818" y="362"/>
                  </a:lnTo>
                  <a:lnTo>
                    <a:pt x="1781" y="335"/>
                  </a:lnTo>
                  <a:lnTo>
                    <a:pt x="1747" y="307"/>
                  </a:lnTo>
                  <a:lnTo>
                    <a:pt x="1710" y="278"/>
                  </a:lnTo>
                  <a:lnTo>
                    <a:pt x="1672" y="247"/>
                  </a:lnTo>
                  <a:lnTo>
                    <a:pt x="1632" y="220"/>
                  </a:lnTo>
                  <a:lnTo>
                    <a:pt x="1610" y="207"/>
                  </a:lnTo>
                  <a:lnTo>
                    <a:pt x="1589" y="193"/>
                  </a:lnTo>
                  <a:lnTo>
                    <a:pt x="1566" y="180"/>
                  </a:lnTo>
                  <a:lnTo>
                    <a:pt x="1543" y="168"/>
                  </a:lnTo>
                  <a:lnTo>
                    <a:pt x="1518" y="159"/>
                  </a:lnTo>
                  <a:lnTo>
                    <a:pt x="1491" y="149"/>
                  </a:lnTo>
                  <a:lnTo>
                    <a:pt x="1465" y="142"/>
                  </a:lnTo>
                  <a:lnTo>
                    <a:pt x="1436" y="134"/>
                  </a:lnTo>
                  <a:lnTo>
                    <a:pt x="1405" y="128"/>
                  </a:lnTo>
                  <a:lnTo>
                    <a:pt x="1374" y="124"/>
                  </a:lnTo>
                  <a:lnTo>
                    <a:pt x="1342" y="120"/>
                  </a:lnTo>
                  <a:lnTo>
                    <a:pt x="1305" y="120"/>
                  </a:lnTo>
                  <a:lnTo>
                    <a:pt x="1273" y="120"/>
                  </a:lnTo>
                  <a:lnTo>
                    <a:pt x="1242" y="124"/>
                  </a:lnTo>
                  <a:lnTo>
                    <a:pt x="1213" y="130"/>
                  </a:lnTo>
                  <a:lnTo>
                    <a:pt x="1184" y="138"/>
                  </a:lnTo>
                  <a:lnTo>
                    <a:pt x="1159" y="147"/>
                  </a:lnTo>
                  <a:lnTo>
                    <a:pt x="1134" y="157"/>
                  </a:lnTo>
                  <a:lnTo>
                    <a:pt x="1113" y="168"/>
                  </a:lnTo>
                  <a:lnTo>
                    <a:pt x="1092" y="180"/>
                  </a:lnTo>
                  <a:lnTo>
                    <a:pt x="1113" y="182"/>
                  </a:lnTo>
                  <a:lnTo>
                    <a:pt x="1130" y="186"/>
                  </a:lnTo>
                  <a:lnTo>
                    <a:pt x="1150" y="192"/>
                  </a:lnTo>
                  <a:lnTo>
                    <a:pt x="1167" y="195"/>
                  </a:lnTo>
                  <a:lnTo>
                    <a:pt x="1198" y="209"/>
                  </a:lnTo>
                  <a:lnTo>
                    <a:pt x="1226" y="224"/>
                  </a:lnTo>
                  <a:lnTo>
                    <a:pt x="1251" y="243"/>
                  </a:lnTo>
                  <a:lnTo>
                    <a:pt x="1274" y="264"/>
                  </a:lnTo>
                  <a:lnTo>
                    <a:pt x="1296" y="286"/>
                  </a:lnTo>
                  <a:lnTo>
                    <a:pt x="1315" y="311"/>
                  </a:lnTo>
                  <a:lnTo>
                    <a:pt x="1332" y="337"/>
                  </a:lnTo>
                  <a:lnTo>
                    <a:pt x="1347" y="364"/>
                  </a:lnTo>
                  <a:lnTo>
                    <a:pt x="1363" y="391"/>
                  </a:lnTo>
                  <a:lnTo>
                    <a:pt x="1376" y="422"/>
                  </a:lnTo>
                  <a:lnTo>
                    <a:pt x="1401" y="481"/>
                  </a:lnTo>
                  <a:lnTo>
                    <a:pt x="1426" y="541"/>
                  </a:lnTo>
                  <a:lnTo>
                    <a:pt x="1436" y="564"/>
                  </a:lnTo>
                  <a:lnTo>
                    <a:pt x="1447" y="585"/>
                  </a:lnTo>
                  <a:lnTo>
                    <a:pt x="1461" y="606"/>
                  </a:lnTo>
                  <a:lnTo>
                    <a:pt x="1474" y="625"/>
                  </a:lnTo>
                  <a:lnTo>
                    <a:pt x="1488" y="645"/>
                  </a:lnTo>
                  <a:lnTo>
                    <a:pt x="1503" y="662"/>
                  </a:lnTo>
                  <a:lnTo>
                    <a:pt x="1520" y="677"/>
                  </a:lnTo>
                  <a:lnTo>
                    <a:pt x="1538" y="693"/>
                  </a:lnTo>
                  <a:lnTo>
                    <a:pt x="1555" y="708"/>
                  </a:lnTo>
                  <a:lnTo>
                    <a:pt x="1576" y="721"/>
                  </a:lnTo>
                  <a:lnTo>
                    <a:pt x="1595" y="733"/>
                  </a:lnTo>
                  <a:lnTo>
                    <a:pt x="1616" y="744"/>
                  </a:lnTo>
                  <a:lnTo>
                    <a:pt x="1639" y="754"/>
                  </a:lnTo>
                  <a:lnTo>
                    <a:pt x="1662" y="764"/>
                  </a:lnTo>
                  <a:lnTo>
                    <a:pt x="1687" y="771"/>
                  </a:lnTo>
                  <a:lnTo>
                    <a:pt x="1714" y="779"/>
                  </a:lnTo>
                  <a:lnTo>
                    <a:pt x="1703" y="785"/>
                  </a:lnTo>
                  <a:lnTo>
                    <a:pt x="1687" y="790"/>
                  </a:lnTo>
                  <a:lnTo>
                    <a:pt x="1672" y="796"/>
                  </a:lnTo>
                  <a:lnTo>
                    <a:pt x="1651" y="802"/>
                  </a:lnTo>
                  <a:lnTo>
                    <a:pt x="1630" y="806"/>
                  </a:lnTo>
                  <a:lnTo>
                    <a:pt x="1605" y="810"/>
                  </a:lnTo>
                  <a:lnTo>
                    <a:pt x="1578" y="812"/>
                  </a:lnTo>
                  <a:lnTo>
                    <a:pt x="1551" y="812"/>
                  </a:lnTo>
                  <a:lnTo>
                    <a:pt x="1518" y="812"/>
                  </a:lnTo>
                  <a:lnTo>
                    <a:pt x="1490" y="808"/>
                  </a:lnTo>
                  <a:lnTo>
                    <a:pt x="1461" y="802"/>
                  </a:lnTo>
                  <a:lnTo>
                    <a:pt x="1432" y="796"/>
                  </a:lnTo>
                  <a:lnTo>
                    <a:pt x="1405" y="787"/>
                  </a:lnTo>
                  <a:lnTo>
                    <a:pt x="1378" y="777"/>
                  </a:lnTo>
                  <a:lnTo>
                    <a:pt x="1353" y="765"/>
                  </a:lnTo>
                  <a:lnTo>
                    <a:pt x="1328" y="752"/>
                  </a:lnTo>
                  <a:lnTo>
                    <a:pt x="1303" y="737"/>
                  </a:lnTo>
                  <a:lnTo>
                    <a:pt x="1280" y="721"/>
                  </a:lnTo>
                  <a:lnTo>
                    <a:pt x="1257" y="702"/>
                  </a:lnTo>
                  <a:lnTo>
                    <a:pt x="1234" y="685"/>
                  </a:lnTo>
                  <a:lnTo>
                    <a:pt x="1188" y="643"/>
                  </a:lnTo>
                  <a:lnTo>
                    <a:pt x="1142" y="598"/>
                  </a:lnTo>
                  <a:lnTo>
                    <a:pt x="1102" y="558"/>
                  </a:lnTo>
                  <a:lnTo>
                    <a:pt x="1059" y="518"/>
                  </a:lnTo>
                  <a:lnTo>
                    <a:pt x="1036" y="501"/>
                  </a:lnTo>
                  <a:lnTo>
                    <a:pt x="1013" y="483"/>
                  </a:lnTo>
                  <a:lnTo>
                    <a:pt x="990" y="466"/>
                  </a:lnTo>
                  <a:lnTo>
                    <a:pt x="965" y="451"/>
                  </a:lnTo>
                  <a:lnTo>
                    <a:pt x="938" y="435"/>
                  </a:lnTo>
                  <a:lnTo>
                    <a:pt x="912" y="424"/>
                  </a:lnTo>
                  <a:lnTo>
                    <a:pt x="883" y="412"/>
                  </a:lnTo>
                  <a:lnTo>
                    <a:pt x="854" y="403"/>
                  </a:lnTo>
                  <a:lnTo>
                    <a:pt x="821" y="395"/>
                  </a:lnTo>
                  <a:lnTo>
                    <a:pt x="789" y="389"/>
                  </a:lnTo>
                  <a:lnTo>
                    <a:pt x="754" y="385"/>
                  </a:lnTo>
                  <a:lnTo>
                    <a:pt x="718" y="385"/>
                  </a:lnTo>
                  <a:lnTo>
                    <a:pt x="683" y="385"/>
                  </a:lnTo>
                  <a:lnTo>
                    <a:pt x="649" y="389"/>
                  </a:lnTo>
                  <a:lnTo>
                    <a:pt x="620" y="395"/>
                  </a:lnTo>
                  <a:lnTo>
                    <a:pt x="591" y="403"/>
                  </a:lnTo>
                  <a:lnTo>
                    <a:pt x="568" y="410"/>
                  </a:lnTo>
                  <a:lnTo>
                    <a:pt x="547" y="418"/>
                  </a:lnTo>
                  <a:lnTo>
                    <a:pt x="531" y="426"/>
                  </a:lnTo>
                  <a:lnTo>
                    <a:pt x="520" y="433"/>
                  </a:lnTo>
                  <a:lnTo>
                    <a:pt x="562" y="441"/>
                  </a:lnTo>
                  <a:lnTo>
                    <a:pt x="608" y="455"/>
                  </a:lnTo>
                  <a:lnTo>
                    <a:pt x="631" y="464"/>
                  </a:lnTo>
                  <a:lnTo>
                    <a:pt x="652" y="474"/>
                  </a:lnTo>
                  <a:lnTo>
                    <a:pt x="675" y="483"/>
                  </a:lnTo>
                  <a:lnTo>
                    <a:pt x="695" y="495"/>
                  </a:lnTo>
                  <a:lnTo>
                    <a:pt x="716" y="508"/>
                  </a:lnTo>
                  <a:lnTo>
                    <a:pt x="733" y="522"/>
                  </a:lnTo>
                  <a:lnTo>
                    <a:pt x="748" y="537"/>
                  </a:lnTo>
                  <a:lnTo>
                    <a:pt x="764" y="554"/>
                  </a:lnTo>
                  <a:lnTo>
                    <a:pt x="773" y="572"/>
                  </a:lnTo>
                  <a:lnTo>
                    <a:pt x="783" y="591"/>
                  </a:lnTo>
                  <a:lnTo>
                    <a:pt x="789" y="610"/>
                  </a:lnTo>
                  <a:lnTo>
                    <a:pt x="791" y="631"/>
                  </a:lnTo>
                  <a:lnTo>
                    <a:pt x="789" y="648"/>
                  </a:lnTo>
                  <a:lnTo>
                    <a:pt x="785" y="666"/>
                  </a:lnTo>
                  <a:lnTo>
                    <a:pt x="779" y="679"/>
                  </a:lnTo>
                  <a:lnTo>
                    <a:pt x="771" y="693"/>
                  </a:lnTo>
                  <a:lnTo>
                    <a:pt x="762" y="704"/>
                  </a:lnTo>
                  <a:lnTo>
                    <a:pt x="750" y="714"/>
                  </a:lnTo>
                  <a:lnTo>
                    <a:pt x="739" y="719"/>
                  </a:lnTo>
                  <a:lnTo>
                    <a:pt x="723" y="725"/>
                  </a:lnTo>
                  <a:lnTo>
                    <a:pt x="710" y="727"/>
                  </a:lnTo>
                  <a:lnTo>
                    <a:pt x="693" y="727"/>
                  </a:lnTo>
                  <a:lnTo>
                    <a:pt x="677" y="725"/>
                  </a:lnTo>
                  <a:lnTo>
                    <a:pt x="660" y="721"/>
                  </a:lnTo>
                  <a:lnTo>
                    <a:pt x="643" y="714"/>
                  </a:lnTo>
                  <a:lnTo>
                    <a:pt x="626" y="702"/>
                  </a:lnTo>
                  <a:lnTo>
                    <a:pt x="608" y="689"/>
                  </a:lnTo>
                  <a:lnTo>
                    <a:pt x="591" y="673"/>
                  </a:lnTo>
                  <a:lnTo>
                    <a:pt x="572" y="654"/>
                  </a:lnTo>
                  <a:lnTo>
                    <a:pt x="553" y="635"/>
                  </a:lnTo>
                  <a:lnTo>
                    <a:pt x="531" y="618"/>
                  </a:lnTo>
                  <a:lnTo>
                    <a:pt x="508" y="600"/>
                  </a:lnTo>
                  <a:lnTo>
                    <a:pt x="485" y="583"/>
                  </a:lnTo>
                  <a:lnTo>
                    <a:pt x="462" y="568"/>
                  </a:lnTo>
                  <a:lnTo>
                    <a:pt x="439" y="554"/>
                  </a:lnTo>
                  <a:lnTo>
                    <a:pt x="414" y="541"/>
                  </a:lnTo>
                  <a:lnTo>
                    <a:pt x="387" y="529"/>
                  </a:lnTo>
                  <a:lnTo>
                    <a:pt x="361" y="520"/>
                  </a:lnTo>
                  <a:lnTo>
                    <a:pt x="334" y="510"/>
                  </a:lnTo>
                  <a:lnTo>
                    <a:pt x="307" y="503"/>
                  </a:lnTo>
                  <a:lnTo>
                    <a:pt x="278" y="497"/>
                  </a:lnTo>
                  <a:lnTo>
                    <a:pt x="249" y="491"/>
                  </a:lnTo>
                  <a:lnTo>
                    <a:pt x="220" y="489"/>
                  </a:lnTo>
                  <a:lnTo>
                    <a:pt x="192" y="489"/>
                  </a:lnTo>
                  <a:lnTo>
                    <a:pt x="161" y="489"/>
                  </a:lnTo>
                  <a:lnTo>
                    <a:pt x="132" y="493"/>
                  </a:lnTo>
                  <a:lnTo>
                    <a:pt x="103" y="499"/>
                  </a:lnTo>
                  <a:lnTo>
                    <a:pt x="78" y="504"/>
                  </a:lnTo>
                  <a:lnTo>
                    <a:pt x="53" y="514"/>
                  </a:lnTo>
                  <a:lnTo>
                    <a:pt x="32" y="524"/>
                  </a:lnTo>
                  <a:lnTo>
                    <a:pt x="13" y="535"/>
                  </a:lnTo>
                  <a:lnTo>
                    <a:pt x="0" y="547"/>
                  </a:lnTo>
                  <a:lnTo>
                    <a:pt x="34" y="550"/>
                  </a:lnTo>
                  <a:lnTo>
                    <a:pt x="67" y="558"/>
                  </a:lnTo>
                  <a:lnTo>
                    <a:pt x="98" y="570"/>
                  </a:lnTo>
                  <a:lnTo>
                    <a:pt x="128" y="581"/>
                  </a:lnTo>
                  <a:lnTo>
                    <a:pt x="157" y="597"/>
                  </a:lnTo>
                  <a:lnTo>
                    <a:pt x="184" y="616"/>
                  </a:lnTo>
                  <a:lnTo>
                    <a:pt x="211" y="637"/>
                  </a:lnTo>
                  <a:lnTo>
                    <a:pt x="236" y="660"/>
                  </a:lnTo>
                  <a:lnTo>
                    <a:pt x="261" y="687"/>
                  </a:lnTo>
                  <a:lnTo>
                    <a:pt x="284" y="718"/>
                  </a:lnTo>
                  <a:lnTo>
                    <a:pt x="307" y="750"/>
                  </a:lnTo>
                  <a:lnTo>
                    <a:pt x="330" y="785"/>
                  </a:lnTo>
                  <a:lnTo>
                    <a:pt x="353" y="825"/>
                  </a:lnTo>
                  <a:lnTo>
                    <a:pt x="374" y="867"/>
                  </a:lnTo>
                  <a:lnTo>
                    <a:pt x="397" y="913"/>
                  </a:lnTo>
                  <a:lnTo>
                    <a:pt x="418" y="961"/>
                  </a:lnTo>
                  <a:lnTo>
                    <a:pt x="432" y="990"/>
                  </a:lnTo>
                  <a:lnTo>
                    <a:pt x="445" y="1019"/>
                  </a:lnTo>
                  <a:lnTo>
                    <a:pt x="460" y="1046"/>
                  </a:lnTo>
                  <a:lnTo>
                    <a:pt x="476" y="1073"/>
                  </a:lnTo>
                  <a:lnTo>
                    <a:pt x="493" y="1100"/>
                  </a:lnTo>
                  <a:lnTo>
                    <a:pt x="512" y="1124"/>
                  </a:lnTo>
                  <a:lnTo>
                    <a:pt x="531" y="1148"/>
                  </a:lnTo>
                  <a:lnTo>
                    <a:pt x="554" y="1169"/>
                  </a:lnTo>
                  <a:lnTo>
                    <a:pt x="578" y="1190"/>
                  </a:lnTo>
                  <a:lnTo>
                    <a:pt x="604" y="1207"/>
                  </a:lnTo>
                  <a:lnTo>
                    <a:pt x="633" y="1222"/>
                  </a:lnTo>
                  <a:lnTo>
                    <a:pt x="664" y="1236"/>
                  </a:lnTo>
                  <a:lnTo>
                    <a:pt x="698" y="1247"/>
                  </a:lnTo>
                  <a:lnTo>
                    <a:pt x="735" y="1255"/>
                  </a:lnTo>
                  <a:lnTo>
                    <a:pt x="775" y="1261"/>
                  </a:lnTo>
                  <a:lnTo>
                    <a:pt x="818" y="1263"/>
                  </a:lnTo>
                  <a:lnTo>
                    <a:pt x="860" y="1263"/>
                  </a:lnTo>
                  <a:lnTo>
                    <a:pt x="906" y="1257"/>
                  </a:lnTo>
                  <a:lnTo>
                    <a:pt x="954" y="1253"/>
                  </a:lnTo>
                  <a:lnTo>
                    <a:pt x="1000" y="1249"/>
                  </a:lnTo>
                  <a:lnTo>
                    <a:pt x="1025" y="1249"/>
                  </a:lnTo>
                  <a:lnTo>
                    <a:pt x="1048" y="1251"/>
                  </a:lnTo>
                  <a:lnTo>
                    <a:pt x="1071" y="1253"/>
                  </a:lnTo>
                  <a:lnTo>
                    <a:pt x="1092" y="1257"/>
                  </a:lnTo>
                  <a:lnTo>
                    <a:pt x="1113" y="1265"/>
                  </a:lnTo>
                  <a:lnTo>
                    <a:pt x="1134" y="1274"/>
                  </a:lnTo>
                  <a:lnTo>
                    <a:pt x="1154" y="1286"/>
                  </a:lnTo>
                  <a:lnTo>
                    <a:pt x="1171" y="1299"/>
                  </a:lnTo>
                  <a:lnTo>
                    <a:pt x="1184" y="1316"/>
                  </a:lnTo>
                  <a:lnTo>
                    <a:pt x="1198" y="1332"/>
                  </a:lnTo>
                  <a:lnTo>
                    <a:pt x="1207" y="1349"/>
                  </a:lnTo>
                  <a:lnTo>
                    <a:pt x="1215" y="1366"/>
                  </a:lnTo>
                  <a:lnTo>
                    <a:pt x="1223" y="1384"/>
                  </a:lnTo>
                  <a:lnTo>
                    <a:pt x="1228" y="1401"/>
                  </a:lnTo>
                  <a:lnTo>
                    <a:pt x="1232" y="1418"/>
                  </a:lnTo>
                  <a:lnTo>
                    <a:pt x="1236" y="1435"/>
                  </a:lnTo>
                  <a:lnTo>
                    <a:pt x="1242" y="1472"/>
                  </a:lnTo>
                  <a:lnTo>
                    <a:pt x="1248" y="1508"/>
                  </a:lnTo>
                  <a:lnTo>
                    <a:pt x="1250" y="1526"/>
                  </a:lnTo>
                  <a:lnTo>
                    <a:pt x="1255" y="1543"/>
                  </a:lnTo>
                  <a:lnTo>
                    <a:pt x="1259" y="1560"/>
                  </a:lnTo>
                  <a:lnTo>
                    <a:pt x="1267" y="1578"/>
                  </a:lnTo>
                  <a:lnTo>
                    <a:pt x="1276" y="1597"/>
                  </a:lnTo>
                  <a:lnTo>
                    <a:pt x="1288" y="1616"/>
                  </a:lnTo>
                  <a:lnTo>
                    <a:pt x="1299" y="1633"/>
                  </a:lnTo>
                  <a:lnTo>
                    <a:pt x="1313" y="1649"/>
                  </a:lnTo>
                  <a:lnTo>
                    <a:pt x="1328" y="1664"/>
                  </a:lnTo>
                  <a:lnTo>
                    <a:pt x="1346" y="1677"/>
                  </a:lnTo>
                  <a:lnTo>
                    <a:pt x="1365" y="1691"/>
                  </a:lnTo>
                  <a:lnTo>
                    <a:pt x="1386" y="1702"/>
                  </a:lnTo>
                  <a:lnTo>
                    <a:pt x="1407" y="1712"/>
                  </a:lnTo>
                  <a:lnTo>
                    <a:pt x="1432" y="1721"/>
                  </a:lnTo>
                  <a:lnTo>
                    <a:pt x="1457" y="1729"/>
                  </a:lnTo>
                  <a:lnTo>
                    <a:pt x="1486" y="1737"/>
                  </a:lnTo>
                  <a:lnTo>
                    <a:pt x="1514" y="1743"/>
                  </a:lnTo>
                  <a:lnTo>
                    <a:pt x="1547" y="1746"/>
                  </a:lnTo>
                  <a:lnTo>
                    <a:pt x="1580" y="1750"/>
                  </a:lnTo>
                  <a:lnTo>
                    <a:pt x="1616" y="1754"/>
                  </a:lnTo>
                  <a:lnTo>
                    <a:pt x="1601" y="1766"/>
                  </a:lnTo>
                  <a:lnTo>
                    <a:pt x="1584" y="1777"/>
                  </a:lnTo>
                  <a:lnTo>
                    <a:pt x="1564" y="1787"/>
                  </a:lnTo>
                  <a:lnTo>
                    <a:pt x="1545" y="1794"/>
                  </a:lnTo>
                  <a:lnTo>
                    <a:pt x="1524" y="1802"/>
                  </a:lnTo>
                  <a:lnTo>
                    <a:pt x="1503" y="1808"/>
                  </a:lnTo>
                  <a:lnTo>
                    <a:pt x="1480" y="1814"/>
                  </a:lnTo>
                  <a:lnTo>
                    <a:pt x="1457" y="1817"/>
                  </a:lnTo>
                  <a:lnTo>
                    <a:pt x="1434" y="1821"/>
                  </a:lnTo>
                  <a:lnTo>
                    <a:pt x="1409" y="1823"/>
                  </a:lnTo>
                  <a:lnTo>
                    <a:pt x="1384" y="1823"/>
                  </a:lnTo>
                  <a:lnTo>
                    <a:pt x="1359" y="1823"/>
                  </a:lnTo>
                  <a:lnTo>
                    <a:pt x="1309" y="1821"/>
                  </a:lnTo>
                  <a:lnTo>
                    <a:pt x="1257" y="1816"/>
                  </a:lnTo>
                  <a:lnTo>
                    <a:pt x="1207" y="1806"/>
                  </a:lnTo>
                  <a:lnTo>
                    <a:pt x="1157" y="1793"/>
                  </a:lnTo>
                  <a:lnTo>
                    <a:pt x="1109" y="1777"/>
                  </a:lnTo>
                  <a:lnTo>
                    <a:pt x="1063" y="1760"/>
                  </a:lnTo>
                  <a:lnTo>
                    <a:pt x="1021" y="1739"/>
                  </a:lnTo>
                  <a:lnTo>
                    <a:pt x="983" y="1718"/>
                  </a:lnTo>
                  <a:lnTo>
                    <a:pt x="965" y="1706"/>
                  </a:lnTo>
                  <a:lnTo>
                    <a:pt x="950" y="1693"/>
                  </a:lnTo>
                  <a:lnTo>
                    <a:pt x="935" y="1679"/>
                  </a:lnTo>
                  <a:lnTo>
                    <a:pt x="921" y="1668"/>
                  </a:lnTo>
                  <a:lnTo>
                    <a:pt x="923" y="1700"/>
                  </a:lnTo>
                  <a:lnTo>
                    <a:pt x="927" y="1733"/>
                  </a:lnTo>
                  <a:lnTo>
                    <a:pt x="933" y="1766"/>
                  </a:lnTo>
                  <a:lnTo>
                    <a:pt x="940" y="1798"/>
                  </a:lnTo>
                  <a:lnTo>
                    <a:pt x="948" y="1829"/>
                  </a:lnTo>
                  <a:lnTo>
                    <a:pt x="960" y="1860"/>
                  </a:lnTo>
                  <a:lnTo>
                    <a:pt x="971" y="1890"/>
                  </a:lnTo>
                  <a:lnTo>
                    <a:pt x="985" y="1919"/>
                  </a:lnTo>
                  <a:lnTo>
                    <a:pt x="998" y="1948"/>
                  </a:lnTo>
                  <a:lnTo>
                    <a:pt x="1015" y="1975"/>
                  </a:lnTo>
                  <a:lnTo>
                    <a:pt x="1033" y="2002"/>
                  </a:lnTo>
                  <a:lnTo>
                    <a:pt x="1052" y="2027"/>
                  </a:lnTo>
                  <a:lnTo>
                    <a:pt x="1073" y="2052"/>
                  </a:lnTo>
                  <a:lnTo>
                    <a:pt x="1096" y="2075"/>
                  </a:lnTo>
                  <a:lnTo>
                    <a:pt x="1121" y="2096"/>
                  </a:lnTo>
                  <a:lnTo>
                    <a:pt x="1146" y="2117"/>
                  </a:lnTo>
                  <a:lnTo>
                    <a:pt x="1173" y="2136"/>
                  </a:lnTo>
                  <a:lnTo>
                    <a:pt x="1202" y="2153"/>
                  </a:lnTo>
                  <a:lnTo>
                    <a:pt x="1232" y="2169"/>
                  </a:lnTo>
                  <a:lnTo>
                    <a:pt x="1265" y="2182"/>
                  </a:lnTo>
                  <a:lnTo>
                    <a:pt x="1298" y="2196"/>
                  </a:lnTo>
                  <a:lnTo>
                    <a:pt x="1334" y="2205"/>
                  </a:lnTo>
                  <a:lnTo>
                    <a:pt x="1370" y="2215"/>
                  </a:lnTo>
                  <a:lnTo>
                    <a:pt x="1409" y="2221"/>
                  </a:lnTo>
                  <a:lnTo>
                    <a:pt x="1447" y="2224"/>
                  </a:lnTo>
                  <a:lnTo>
                    <a:pt x="1490" y="2226"/>
                  </a:lnTo>
                  <a:lnTo>
                    <a:pt x="1534" y="2226"/>
                  </a:lnTo>
                  <a:lnTo>
                    <a:pt x="1578" y="2224"/>
                  </a:lnTo>
                  <a:lnTo>
                    <a:pt x="1624" y="2219"/>
                  </a:lnTo>
                  <a:lnTo>
                    <a:pt x="1672" y="2213"/>
                  </a:lnTo>
                  <a:lnTo>
                    <a:pt x="1722" y="2201"/>
                  </a:lnTo>
                  <a:lnTo>
                    <a:pt x="1772" y="2190"/>
                  </a:lnTo>
                  <a:lnTo>
                    <a:pt x="1808" y="2182"/>
                  </a:lnTo>
                  <a:lnTo>
                    <a:pt x="1839" y="2178"/>
                  </a:lnTo>
                  <a:lnTo>
                    <a:pt x="1854" y="2178"/>
                  </a:lnTo>
                  <a:lnTo>
                    <a:pt x="1870" y="2180"/>
                  </a:lnTo>
                  <a:lnTo>
                    <a:pt x="1883" y="2182"/>
                  </a:lnTo>
                  <a:lnTo>
                    <a:pt x="1897" y="2186"/>
                  </a:lnTo>
                  <a:lnTo>
                    <a:pt x="1908" y="2192"/>
                  </a:lnTo>
                  <a:lnTo>
                    <a:pt x="1920" y="2199"/>
                  </a:lnTo>
                  <a:lnTo>
                    <a:pt x="1931" y="2207"/>
                  </a:lnTo>
                  <a:lnTo>
                    <a:pt x="1941" y="2217"/>
                  </a:lnTo>
                  <a:lnTo>
                    <a:pt x="1950" y="2228"/>
                  </a:lnTo>
                  <a:lnTo>
                    <a:pt x="1960" y="2244"/>
                  </a:lnTo>
                  <a:lnTo>
                    <a:pt x="1968" y="2259"/>
                  </a:lnTo>
                  <a:lnTo>
                    <a:pt x="1975" y="2276"/>
                  </a:lnTo>
                  <a:lnTo>
                    <a:pt x="1985" y="2299"/>
                  </a:lnTo>
                  <a:lnTo>
                    <a:pt x="1996" y="2320"/>
                  </a:lnTo>
                  <a:lnTo>
                    <a:pt x="2010" y="2340"/>
                  </a:lnTo>
                  <a:lnTo>
                    <a:pt x="2025" y="2357"/>
                  </a:lnTo>
                  <a:lnTo>
                    <a:pt x="2041" y="2370"/>
                  </a:lnTo>
                  <a:lnTo>
                    <a:pt x="2058" y="2384"/>
                  </a:lnTo>
                  <a:lnTo>
                    <a:pt x="2075" y="2393"/>
                  </a:lnTo>
                  <a:lnTo>
                    <a:pt x="2094" y="2403"/>
                  </a:lnTo>
                  <a:lnTo>
                    <a:pt x="2114" y="2409"/>
                  </a:lnTo>
                  <a:lnTo>
                    <a:pt x="2133" y="2414"/>
                  </a:lnTo>
                  <a:lnTo>
                    <a:pt x="2154" y="2418"/>
                  </a:lnTo>
                  <a:lnTo>
                    <a:pt x="2175" y="2420"/>
                  </a:lnTo>
                  <a:lnTo>
                    <a:pt x="2196" y="2420"/>
                  </a:lnTo>
                  <a:lnTo>
                    <a:pt x="2217" y="2420"/>
                  </a:lnTo>
                  <a:lnTo>
                    <a:pt x="2238" y="2420"/>
                  </a:lnTo>
                  <a:lnTo>
                    <a:pt x="2259" y="2418"/>
                  </a:lnTo>
                  <a:lnTo>
                    <a:pt x="2307" y="2413"/>
                  </a:lnTo>
                  <a:lnTo>
                    <a:pt x="2354" y="2409"/>
                  </a:lnTo>
                  <a:lnTo>
                    <a:pt x="2396" y="2409"/>
                  </a:lnTo>
                  <a:lnTo>
                    <a:pt x="2438" y="2411"/>
                  </a:lnTo>
                  <a:lnTo>
                    <a:pt x="2476" y="2413"/>
                  </a:lnTo>
                  <a:lnTo>
                    <a:pt x="2515" y="2418"/>
                  </a:lnTo>
                  <a:lnTo>
                    <a:pt x="2549" y="2428"/>
                  </a:lnTo>
                  <a:lnTo>
                    <a:pt x="2584" y="2438"/>
                  </a:lnTo>
                  <a:lnTo>
                    <a:pt x="2618" y="2451"/>
                  </a:lnTo>
                  <a:lnTo>
                    <a:pt x="2649" y="2466"/>
                  </a:lnTo>
                  <a:lnTo>
                    <a:pt x="2680" y="2485"/>
                  </a:lnTo>
                  <a:lnTo>
                    <a:pt x="2711" y="2505"/>
                  </a:lnTo>
                  <a:lnTo>
                    <a:pt x="2739" y="2530"/>
                  </a:lnTo>
                  <a:lnTo>
                    <a:pt x="2768" y="2555"/>
                  </a:lnTo>
                  <a:lnTo>
                    <a:pt x="2797" y="2585"/>
                  </a:lnTo>
                  <a:lnTo>
                    <a:pt x="2826" y="2616"/>
                  </a:lnTo>
                  <a:lnTo>
                    <a:pt x="2828" y="2589"/>
                  </a:lnTo>
                  <a:lnTo>
                    <a:pt x="2830" y="2562"/>
                  </a:lnTo>
                  <a:lnTo>
                    <a:pt x="2828" y="2537"/>
                  </a:lnTo>
                  <a:lnTo>
                    <a:pt x="2828" y="2510"/>
                  </a:lnTo>
                  <a:lnTo>
                    <a:pt x="2824" y="2487"/>
                  </a:lnTo>
                  <a:lnTo>
                    <a:pt x="2820" y="2462"/>
                  </a:lnTo>
                  <a:lnTo>
                    <a:pt x="2816" y="2439"/>
                  </a:lnTo>
                  <a:lnTo>
                    <a:pt x="2809" y="2416"/>
                  </a:lnTo>
                  <a:lnTo>
                    <a:pt x="2803" y="2395"/>
                  </a:lnTo>
                  <a:lnTo>
                    <a:pt x="2795" y="2374"/>
                  </a:lnTo>
                  <a:lnTo>
                    <a:pt x="2786" y="2353"/>
                  </a:lnTo>
                  <a:lnTo>
                    <a:pt x="2776" y="2334"/>
                  </a:lnTo>
                  <a:lnTo>
                    <a:pt x="2755" y="2295"/>
                  </a:lnTo>
                  <a:lnTo>
                    <a:pt x="2732" y="2261"/>
                  </a:lnTo>
                  <a:lnTo>
                    <a:pt x="2707" y="2226"/>
                  </a:lnTo>
                  <a:lnTo>
                    <a:pt x="2680" y="2198"/>
                  </a:lnTo>
                  <a:lnTo>
                    <a:pt x="2651" y="2169"/>
                  </a:lnTo>
                  <a:lnTo>
                    <a:pt x="2622" y="2144"/>
                  </a:lnTo>
                  <a:lnTo>
                    <a:pt x="2594" y="2119"/>
                  </a:lnTo>
                  <a:lnTo>
                    <a:pt x="2567" y="2098"/>
                  </a:lnTo>
                  <a:lnTo>
                    <a:pt x="2540" y="2080"/>
                  </a:lnTo>
                  <a:lnTo>
                    <a:pt x="2513" y="2063"/>
                  </a:lnTo>
                  <a:lnTo>
                    <a:pt x="2490" y="2048"/>
                  </a:lnTo>
                  <a:lnTo>
                    <a:pt x="2471" y="2032"/>
                  </a:lnTo>
                  <a:lnTo>
                    <a:pt x="2453" y="2019"/>
                  </a:lnTo>
                  <a:lnTo>
                    <a:pt x="2438" y="2004"/>
                  </a:lnTo>
                  <a:lnTo>
                    <a:pt x="2425" y="1988"/>
                  </a:lnTo>
                  <a:lnTo>
                    <a:pt x="2413" y="1973"/>
                  </a:lnTo>
                  <a:lnTo>
                    <a:pt x="2403" y="1960"/>
                  </a:lnTo>
                  <a:lnTo>
                    <a:pt x="2396" y="1944"/>
                  </a:lnTo>
                  <a:lnTo>
                    <a:pt x="2390" y="1931"/>
                  </a:lnTo>
                  <a:lnTo>
                    <a:pt x="2384" y="1915"/>
                  </a:lnTo>
                  <a:lnTo>
                    <a:pt x="2380" y="1902"/>
                  </a:lnTo>
                  <a:lnTo>
                    <a:pt x="2377" y="1888"/>
                  </a:lnTo>
                  <a:lnTo>
                    <a:pt x="2375" y="1862"/>
                  </a:lnTo>
                  <a:lnTo>
                    <a:pt x="2373" y="1837"/>
                  </a:lnTo>
                  <a:lnTo>
                    <a:pt x="2390" y="1856"/>
                  </a:lnTo>
                  <a:lnTo>
                    <a:pt x="2407" y="1873"/>
                  </a:lnTo>
                  <a:lnTo>
                    <a:pt x="2426" y="1890"/>
                  </a:lnTo>
                  <a:lnTo>
                    <a:pt x="2446" y="1906"/>
                  </a:lnTo>
                  <a:lnTo>
                    <a:pt x="2467" y="1919"/>
                  </a:lnTo>
                  <a:lnTo>
                    <a:pt x="2486" y="1931"/>
                  </a:lnTo>
                  <a:lnTo>
                    <a:pt x="2507" y="1942"/>
                  </a:lnTo>
                  <a:lnTo>
                    <a:pt x="2528" y="1954"/>
                  </a:lnTo>
                  <a:lnTo>
                    <a:pt x="2549" y="1963"/>
                  </a:lnTo>
                  <a:lnTo>
                    <a:pt x="2572" y="1971"/>
                  </a:lnTo>
                  <a:lnTo>
                    <a:pt x="2594" y="1979"/>
                  </a:lnTo>
                  <a:lnTo>
                    <a:pt x="2617" y="1986"/>
                  </a:lnTo>
                  <a:lnTo>
                    <a:pt x="2663" y="1996"/>
                  </a:lnTo>
                  <a:lnTo>
                    <a:pt x="2709" y="2004"/>
                  </a:lnTo>
                  <a:lnTo>
                    <a:pt x="2747" y="2009"/>
                  </a:lnTo>
                  <a:lnTo>
                    <a:pt x="2786" y="2017"/>
                  </a:lnTo>
                  <a:lnTo>
                    <a:pt x="2822" y="2025"/>
                  </a:lnTo>
                  <a:lnTo>
                    <a:pt x="2858" y="2032"/>
                  </a:lnTo>
                  <a:lnTo>
                    <a:pt x="2891" y="2042"/>
                  </a:lnTo>
                  <a:lnTo>
                    <a:pt x="2924" y="2052"/>
                  </a:lnTo>
                  <a:lnTo>
                    <a:pt x="2954" y="2063"/>
                  </a:lnTo>
                  <a:lnTo>
                    <a:pt x="2983" y="2075"/>
                  </a:lnTo>
                  <a:lnTo>
                    <a:pt x="3012" y="2088"/>
                  </a:lnTo>
                  <a:lnTo>
                    <a:pt x="3037" y="2102"/>
                  </a:lnTo>
                  <a:lnTo>
                    <a:pt x="3062" y="2117"/>
                  </a:lnTo>
                  <a:lnTo>
                    <a:pt x="3085" y="2134"/>
                  </a:lnTo>
                  <a:lnTo>
                    <a:pt x="3106" y="2151"/>
                  </a:lnTo>
                  <a:lnTo>
                    <a:pt x="3125" y="2169"/>
                  </a:lnTo>
                  <a:lnTo>
                    <a:pt x="3143" y="2188"/>
                  </a:lnTo>
                  <a:lnTo>
                    <a:pt x="3160" y="2209"/>
                  </a:lnTo>
                  <a:lnTo>
                    <a:pt x="3160" y="2180"/>
                  </a:lnTo>
                  <a:lnTo>
                    <a:pt x="3160" y="2151"/>
                  </a:lnTo>
                  <a:lnTo>
                    <a:pt x="3156" y="2125"/>
                  </a:lnTo>
                  <a:lnTo>
                    <a:pt x="3152" y="2100"/>
                  </a:lnTo>
                  <a:lnTo>
                    <a:pt x="3146" y="2075"/>
                  </a:lnTo>
                  <a:lnTo>
                    <a:pt x="3139" y="2052"/>
                  </a:lnTo>
                  <a:lnTo>
                    <a:pt x="3129" y="2029"/>
                  </a:lnTo>
                  <a:lnTo>
                    <a:pt x="3120" y="2008"/>
                  </a:lnTo>
                  <a:lnTo>
                    <a:pt x="3106" y="1988"/>
                  </a:lnTo>
                  <a:lnTo>
                    <a:pt x="3095" y="1969"/>
                  </a:lnTo>
                  <a:lnTo>
                    <a:pt x="3081" y="1950"/>
                  </a:lnTo>
                  <a:lnTo>
                    <a:pt x="3066" y="1933"/>
                  </a:lnTo>
                  <a:lnTo>
                    <a:pt x="3035" y="1900"/>
                  </a:lnTo>
                  <a:lnTo>
                    <a:pt x="3004" y="1871"/>
                  </a:lnTo>
                  <a:lnTo>
                    <a:pt x="2937" y="1817"/>
                  </a:lnTo>
                  <a:lnTo>
                    <a:pt x="2876" y="1769"/>
                  </a:lnTo>
                  <a:lnTo>
                    <a:pt x="2849" y="1746"/>
                  </a:lnTo>
                  <a:lnTo>
                    <a:pt x="2828" y="1721"/>
                  </a:lnTo>
                  <a:lnTo>
                    <a:pt x="2818" y="1710"/>
                  </a:lnTo>
                  <a:lnTo>
                    <a:pt x="2810" y="1698"/>
                  </a:lnTo>
                  <a:lnTo>
                    <a:pt x="2803" y="1685"/>
                  </a:lnTo>
                  <a:lnTo>
                    <a:pt x="2799" y="1673"/>
                  </a:lnTo>
                  <a:lnTo>
                    <a:pt x="2837" y="1698"/>
                  </a:lnTo>
                  <a:lnTo>
                    <a:pt x="2876" y="1718"/>
                  </a:lnTo>
                  <a:lnTo>
                    <a:pt x="2910" y="1735"/>
                  </a:lnTo>
                  <a:lnTo>
                    <a:pt x="2947" y="1746"/>
                  </a:lnTo>
                  <a:lnTo>
                    <a:pt x="2983" y="1756"/>
                  </a:lnTo>
                  <a:lnTo>
                    <a:pt x="3020" y="1760"/>
                  </a:lnTo>
                  <a:lnTo>
                    <a:pt x="3058" y="1762"/>
                  </a:lnTo>
                  <a:lnTo>
                    <a:pt x="3098" y="1760"/>
                  </a:lnTo>
                  <a:lnTo>
                    <a:pt x="3125" y="1758"/>
                  </a:lnTo>
                  <a:lnTo>
                    <a:pt x="3156" y="1752"/>
                  </a:lnTo>
                  <a:lnTo>
                    <a:pt x="3185" y="1746"/>
                  </a:lnTo>
                  <a:lnTo>
                    <a:pt x="3216" y="1739"/>
                  </a:lnTo>
                  <a:lnTo>
                    <a:pt x="3244" y="1733"/>
                  </a:lnTo>
                  <a:lnTo>
                    <a:pt x="3275" y="1727"/>
                  </a:lnTo>
                  <a:lnTo>
                    <a:pt x="3306" y="1723"/>
                  </a:lnTo>
                  <a:lnTo>
                    <a:pt x="3337" y="1721"/>
                  </a:lnTo>
                  <a:lnTo>
                    <a:pt x="3367" y="1721"/>
                  </a:lnTo>
                  <a:lnTo>
                    <a:pt x="3396" y="1725"/>
                  </a:lnTo>
                  <a:lnTo>
                    <a:pt x="3411" y="1729"/>
                  </a:lnTo>
                  <a:lnTo>
                    <a:pt x="3427" y="1735"/>
                  </a:lnTo>
                  <a:lnTo>
                    <a:pt x="3440" y="1741"/>
                  </a:lnTo>
                  <a:lnTo>
                    <a:pt x="3456" y="1746"/>
                  </a:lnTo>
                  <a:lnTo>
                    <a:pt x="3469" y="1756"/>
                  </a:lnTo>
                  <a:lnTo>
                    <a:pt x="3484" y="1766"/>
                  </a:lnTo>
                  <a:lnTo>
                    <a:pt x="3498" y="1777"/>
                  </a:lnTo>
                  <a:lnTo>
                    <a:pt x="3511" y="1791"/>
                  </a:lnTo>
                  <a:lnTo>
                    <a:pt x="3525" y="1806"/>
                  </a:lnTo>
                  <a:lnTo>
                    <a:pt x="3538" y="1823"/>
                  </a:lnTo>
                  <a:lnTo>
                    <a:pt x="3552" y="1840"/>
                  </a:lnTo>
                  <a:lnTo>
                    <a:pt x="3563" y="1862"/>
                  </a:lnTo>
                  <a:lnTo>
                    <a:pt x="3596" y="1842"/>
                  </a:lnTo>
                  <a:lnTo>
                    <a:pt x="3630" y="1827"/>
                  </a:lnTo>
                  <a:lnTo>
                    <a:pt x="3665" y="1814"/>
                  </a:lnTo>
                  <a:lnTo>
                    <a:pt x="3699" y="1804"/>
                  </a:lnTo>
                  <a:lnTo>
                    <a:pt x="3736" y="1798"/>
                  </a:lnTo>
                  <a:lnTo>
                    <a:pt x="3772" y="1794"/>
                  </a:lnTo>
                  <a:lnTo>
                    <a:pt x="3809" y="1794"/>
                  </a:lnTo>
                  <a:lnTo>
                    <a:pt x="3843" y="1796"/>
                  </a:lnTo>
                  <a:lnTo>
                    <a:pt x="3880" y="1800"/>
                  </a:lnTo>
                  <a:lnTo>
                    <a:pt x="3916" y="1808"/>
                  </a:lnTo>
                  <a:lnTo>
                    <a:pt x="3951" y="1816"/>
                  </a:lnTo>
                  <a:lnTo>
                    <a:pt x="3986" y="1827"/>
                  </a:lnTo>
                  <a:lnTo>
                    <a:pt x="4018" y="1839"/>
                  </a:lnTo>
                  <a:lnTo>
                    <a:pt x="4051" y="1854"/>
                  </a:lnTo>
                  <a:lnTo>
                    <a:pt x="4080" y="1869"/>
                  </a:lnTo>
                  <a:lnTo>
                    <a:pt x="4110" y="1887"/>
                  </a:lnTo>
                  <a:close/>
                  <a:moveTo>
                    <a:pt x="2246" y="1449"/>
                  </a:moveTo>
                  <a:lnTo>
                    <a:pt x="1862" y="1449"/>
                  </a:lnTo>
                  <a:lnTo>
                    <a:pt x="1862" y="1063"/>
                  </a:lnTo>
                  <a:lnTo>
                    <a:pt x="2246" y="1063"/>
                  </a:lnTo>
                  <a:lnTo>
                    <a:pt x="2246" y="1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fi-FI"/>
            </a:p>
          </p:txBody>
        </p:sp>
      </p:grpSp>
      <p:sp>
        <p:nvSpPr>
          <p:cNvPr id="16" name="Text Placeholder 2"/>
          <p:cNvSpPr txBox="1">
            <a:spLocks/>
          </p:cNvSpPr>
          <p:nvPr userDrawn="1"/>
        </p:nvSpPr>
        <p:spPr bwMode="auto">
          <a:xfrm>
            <a:off x="2968404" y="6188400"/>
            <a:ext cx="3744000" cy="576064"/>
          </a:xfrm>
          <a:prstGeom prst="rect">
            <a:avLst/>
          </a:prstGeom>
          <a:noFill/>
          <a:ln w="9525">
            <a:noFill/>
            <a:miter lim="800000"/>
            <a:headEnd/>
            <a:tailEnd/>
          </a:ln>
        </p:spPr>
        <p:txBody>
          <a:bodyPr lIns="0" tIns="0" rIns="0" bIns="0" anchor="b" anchorCtr="0"/>
          <a:lstStyle>
            <a:defPPr>
              <a:defRPr lang="fi-FI"/>
            </a:defPPr>
            <a:lvl1pPr algn="l"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pPr algn="l"/>
            <a:r>
              <a:rPr lang="fi-FI" sz="900" kern="1200" dirty="0">
                <a:solidFill>
                  <a:schemeClr val="tx1"/>
                </a:solidFill>
                <a:latin typeface="Arial" charset="0"/>
                <a:ea typeface="ＭＳ Ｐゴシック" charset="0"/>
                <a:cs typeface="Arial"/>
              </a:rPr>
              <a:t>Lääketieteellinen tiedekunta</a:t>
            </a:r>
          </a:p>
        </p:txBody>
      </p:sp>
    </p:spTree>
  </p:cSld>
  <p:clrMap bg1="lt1" tx1="dk1" bg2="lt2" tx2="dk2" accent1="accent1" accent2="accent2" accent3="accent3" accent4="accent4" accent5="accent5" accent6="accent6" hlink="hlink" folHlink="folHlink"/>
  <p:sldLayoutIdLst>
    <p:sldLayoutId id="2147483679" r:id="rId1"/>
    <p:sldLayoutId id="2147483663" r:id="rId2"/>
    <p:sldLayoutId id="2147483680" r:id="rId3"/>
    <p:sldLayoutId id="2147483681" r:id="rId4"/>
    <p:sldLayoutId id="2147483667" r:id="rId5"/>
    <p:sldLayoutId id="2147483669" r:id="rId6"/>
    <p:sldLayoutId id="2147483684" r:id="rId7"/>
    <p:sldLayoutId id="2147483670" r:id="rId8"/>
    <p:sldLayoutId id="2147483678" r:id="rId9"/>
    <p:sldLayoutId id="2147483683" r:id="rId10"/>
    <p:sldLayoutId id="2147483686" r:id="rId11"/>
    <p:sldLayoutId id="2147483687" r:id="rId12"/>
    <p:sldLayoutId id="2147483688" r:id="rId13"/>
    <p:sldLayoutId id="2147483692" r:id="rId14"/>
    <p:sldLayoutId id="2147483693" r:id="rId15"/>
    <p:sldLayoutId id="2147483698" r:id="rId16"/>
  </p:sldLayoutIdLst>
  <p:hf hdr="0"/>
  <p:txStyles>
    <p:titleStyle>
      <a:lvl1pPr algn="l" rtl="0" eaLnBrk="1" fontAlgn="base" hangingPunct="1">
        <a:lnSpc>
          <a:spcPct val="80000"/>
        </a:lnSpc>
        <a:spcBef>
          <a:spcPct val="0"/>
        </a:spcBef>
        <a:spcAft>
          <a:spcPct val="0"/>
        </a:spcAft>
        <a:defRPr sz="3400" b="1" kern="1200" cap="all" baseline="0">
          <a:solidFill>
            <a:schemeClr val="tx1"/>
          </a:solidFill>
          <a:latin typeface="+mj-lt"/>
          <a:ea typeface="+mj-ea"/>
          <a:cs typeface="Gotham Narrow Bold"/>
        </a:defRPr>
      </a:lvl1pPr>
      <a:lvl2pPr algn="l" rtl="0" eaLnBrk="1" fontAlgn="base" hangingPunct="1">
        <a:lnSpc>
          <a:spcPct val="80000"/>
        </a:lnSpc>
        <a:spcBef>
          <a:spcPct val="0"/>
        </a:spcBef>
        <a:spcAft>
          <a:spcPct val="0"/>
        </a:spcAft>
        <a:defRPr sz="3400" b="1">
          <a:solidFill>
            <a:schemeClr val="tx1"/>
          </a:solidFill>
          <a:latin typeface="Gotham Narrow Bold" charset="0"/>
          <a:ea typeface="ＭＳ Ｐゴシック" pitchFamily="-72" charset="-128"/>
          <a:cs typeface="ＭＳ Ｐゴシック" pitchFamily="-72" charset="-128"/>
        </a:defRPr>
      </a:lvl2pPr>
      <a:lvl3pPr algn="l" rtl="0" eaLnBrk="1" fontAlgn="base" hangingPunct="1">
        <a:lnSpc>
          <a:spcPct val="80000"/>
        </a:lnSpc>
        <a:spcBef>
          <a:spcPct val="0"/>
        </a:spcBef>
        <a:spcAft>
          <a:spcPct val="0"/>
        </a:spcAft>
        <a:defRPr sz="3400" b="1">
          <a:solidFill>
            <a:schemeClr val="tx1"/>
          </a:solidFill>
          <a:latin typeface="Gotham Narrow Bold" charset="0"/>
          <a:ea typeface="ＭＳ Ｐゴシック" pitchFamily="-72" charset="-128"/>
          <a:cs typeface="ＭＳ Ｐゴシック" pitchFamily="-72" charset="-128"/>
        </a:defRPr>
      </a:lvl3pPr>
      <a:lvl4pPr algn="l" rtl="0" eaLnBrk="1" fontAlgn="base" hangingPunct="1">
        <a:lnSpc>
          <a:spcPct val="80000"/>
        </a:lnSpc>
        <a:spcBef>
          <a:spcPct val="0"/>
        </a:spcBef>
        <a:spcAft>
          <a:spcPct val="0"/>
        </a:spcAft>
        <a:defRPr sz="3400" b="1">
          <a:solidFill>
            <a:schemeClr val="tx1"/>
          </a:solidFill>
          <a:latin typeface="Gotham Narrow Bold" charset="0"/>
          <a:ea typeface="ＭＳ Ｐゴシック" pitchFamily="-72" charset="-128"/>
          <a:cs typeface="ＭＳ Ｐゴシック" pitchFamily="-72" charset="-128"/>
        </a:defRPr>
      </a:lvl4pPr>
      <a:lvl5pPr algn="l" rtl="0" eaLnBrk="1" fontAlgn="base" hangingPunct="1">
        <a:lnSpc>
          <a:spcPct val="80000"/>
        </a:lnSpc>
        <a:spcBef>
          <a:spcPct val="0"/>
        </a:spcBef>
        <a:spcAft>
          <a:spcPct val="0"/>
        </a:spcAft>
        <a:defRPr sz="3400" b="1">
          <a:solidFill>
            <a:schemeClr val="tx1"/>
          </a:solidFill>
          <a:latin typeface="Gotham Narrow Bold"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2600" b="1">
          <a:solidFill>
            <a:schemeClr val="tx1"/>
          </a:solidFill>
          <a:latin typeface="Arial"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2600" b="1">
          <a:solidFill>
            <a:schemeClr val="tx1"/>
          </a:solidFill>
          <a:latin typeface="Arial"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2600" b="1">
          <a:solidFill>
            <a:schemeClr val="tx1"/>
          </a:solidFill>
          <a:latin typeface="Arial"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2600" b="1">
          <a:solidFill>
            <a:schemeClr val="tx1"/>
          </a:solidFill>
          <a:latin typeface="Arial"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0"/>
        </a:spcBef>
        <a:spcAft>
          <a:spcPct val="50000"/>
        </a:spcAft>
        <a:buClr>
          <a:schemeClr val="accent1"/>
        </a:buClr>
        <a:buSzPct val="100000"/>
        <a:defRPr sz="2200" kern="1200">
          <a:solidFill>
            <a:schemeClr val="tx1"/>
          </a:solidFill>
          <a:latin typeface="+mn-lt"/>
          <a:ea typeface="+mn-ea"/>
          <a:cs typeface="+mn-cs"/>
        </a:defRPr>
      </a:lvl1pPr>
      <a:lvl2pPr marL="382588" indent="3175" algn="l" rtl="0" eaLnBrk="1" fontAlgn="base" hangingPunct="1">
        <a:spcBef>
          <a:spcPct val="0"/>
        </a:spcBef>
        <a:spcAft>
          <a:spcPct val="50000"/>
        </a:spcAft>
        <a:buClr>
          <a:schemeClr val="tx1"/>
        </a:buClr>
        <a:buSzPct val="100000"/>
        <a:defRPr sz="2000" kern="1200">
          <a:solidFill>
            <a:schemeClr val="tx1"/>
          </a:solidFill>
          <a:latin typeface="+mn-lt"/>
          <a:ea typeface="+mn-ea"/>
          <a:cs typeface="+mn-cs"/>
        </a:defRPr>
      </a:lvl2pPr>
      <a:lvl3pPr marL="952500" indent="-187325" algn="l" rtl="0" eaLnBrk="1" fontAlgn="base" hangingPunct="1">
        <a:spcBef>
          <a:spcPct val="0"/>
        </a:spcBef>
        <a:spcAft>
          <a:spcPct val="50000"/>
        </a:spcAft>
        <a:buFont typeface="Arial" charset="0"/>
        <a:buChar char="‒"/>
        <a:defRPr kern="1200">
          <a:solidFill>
            <a:schemeClr val="tx1"/>
          </a:solidFill>
          <a:latin typeface="+mn-lt"/>
          <a:ea typeface="+mn-ea"/>
          <a:cs typeface="+mn-cs"/>
        </a:defRPr>
      </a:lvl3pPr>
      <a:lvl4pPr marL="1428750" indent="-187325" algn="l" rtl="0" eaLnBrk="1" fontAlgn="base" hangingPunct="1">
        <a:spcBef>
          <a:spcPct val="0"/>
        </a:spcBef>
        <a:spcAft>
          <a:spcPct val="50000"/>
        </a:spcAft>
        <a:buFont typeface="Arial" charset="0"/>
        <a:buChar char="‒"/>
        <a:defRPr sz="1600" kern="1200">
          <a:solidFill>
            <a:schemeClr val="tx1"/>
          </a:solidFill>
          <a:latin typeface="+mn-lt"/>
          <a:ea typeface="+mn-ea"/>
          <a:cs typeface="+mn-cs"/>
        </a:defRPr>
      </a:lvl4pPr>
      <a:lvl5pPr marL="1905000" indent="-187325" algn="l" rtl="0" eaLnBrk="1" fontAlgn="base" hangingPunct="1">
        <a:spcBef>
          <a:spcPct val="0"/>
        </a:spcBef>
        <a:spcAft>
          <a:spcPct val="5000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04B455-7944-4FDF-B208-AF577DB02C7A}"/>
              </a:ext>
            </a:extLst>
          </p:cNvPr>
          <p:cNvGraphicFramePr>
            <a:graphicFrameLocks noChangeAspect="1"/>
          </p:cNvGraphicFramePr>
          <p:nvPr>
            <p:custDataLst>
              <p:tags r:id="rId1"/>
            </p:custDataLst>
            <p:extLst>
              <p:ext uri="{D42A27DB-BD31-4B8C-83A1-F6EECF244321}">
                <p14:modId xmlns:p14="http://schemas.microsoft.com/office/powerpoint/2010/main" val="622955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3F04B455-7944-4FDF-B208-AF577DB02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B95A591-1176-4431-B98E-2F9E965ECA5F}"/>
              </a:ext>
            </a:extLst>
          </p:cNvPr>
          <p:cNvSpPr>
            <a:spLocks noGrp="1"/>
          </p:cNvSpPr>
          <p:nvPr>
            <p:ph type="ctrTitle"/>
          </p:nvPr>
        </p:nvSpPr>
        <p:spPr/>
        <p:txBody>
          <a:bodyPr vert="horz"/>
          <a:lstStyle/>
          <a:p>
            <a:r>
              <a:rPr lang="fi-FI" sz="3200" b="1" i="0" dirty="0">
                <a:solidFill>
                  <a:srgbClr val="000000"/>
                </a:solidFill>
                <a:effectLst/>
                <a:latin typeface="inherit"/>
              </a:rPr>
              <a:t>Tutkimuksen vaikuttavuus</a:t>
            </a:r>
            <a:endParaRPr lang="fi-FI" sz="6000" dirty="0"/>
          </a:p>
        </p:txBody>
      </p:sp>
      <p:sp>
        <p:nvSpPr>
          <p:cNvPr id="4" name="Date Placeholder 3">
            <a:extLst>
              <a:ext uri="{FF2B5EF4-FFF2-40B4-BE49-F238E27FC236}">
                <a16:creationId xmlns:a16="http://schemas.microsoft.com/office/drawing/2014/main" id="{AC979EB8-FF1E-41E7-98FF-A8D714D3C535}"/>
              </a:ext>
            </a:extLst>
          </p:cNvPr>
          <p:cNvSpPr>
            <a:spLocks noGrp="1"/>
          </p:cNvSpPr>
          <p:nvPr>
            <p:ph type="dt" sz="half" idx="10"/>
          </p:nvPr>
        </p:nvSpPr>
        <p:spPr/>
        <p:txBody>
          <a:bodyPr/>
          <a:lstStyle/>
          <a:p>
            <a:pPr>
              <a:defRPr/>
            </a:pPr>
            <a:fld id="{8FC139DF-555F-4884-A52D-5104D268AD44}" type="datetime1">
              <a:rPr lang="en-GB" smtClean="0"/>
              <a:t>22/08/2025</a:t>
            </a:fld>
            <a:endParaRPr lang="fi-FI" dirty="0"/>
          </a:p>
        </p:txBody>
      </p:sp>
      <p:sp>
        <p:nvSpPr>
          <p:cNvPr id="5" name="Footer Placeholder 4">
            <a:extLst>
              <a:ext uri="{FF2B5EF4-FFF2-40B4-BE49-F238E27FC236}">
                <a16:creationId xmlns:a16="http://schemas.microsoft.com/office/drawing/2014/main" id="{FE39D357-C30B-4FCD-88A7-C1EF8A89ACF5}"/>
              </a:ext>
            </a:extLst>
          </p:cNvPr>
          <p:cNvSpPr>
            <a:spLocks noGrp="1"/>
          </p:cNvSpPr>
          <p:nvPr>
            <p:ph type="ftr" sz="quarter" idx="11"/>
          </p:nvPr>
        </p:nvSpPr>
        <p:spPr/>
        <p:txBody>
          <a:bodyPr/>
          <a:lstStyle/>
          <a:p>
            <a:r>
              <a:rPr lang="fi-FI" dirty="0"/>
              <a:t>Paulus Torkki</a:t>
            </a:r>
          </a:p>
        </p:txBody>
      </p:sp>
      <p:sp>
        <p:nvSpPr>
          <p:cNvPr id="6" name="Slide Number Placeholder 5">
            <a:extLst>
              <a:ext uri="{FF2B5EF4-FFF2-40B4-BE49-F238E27FC236}">
                <a16:creationId xmlns:a16="http://schemas.microsoft.com/office/drawing/2014/main" id="{561CBE6E-0A62-4869-9271-0D609A135264}"/>
              </a:ext>
            </a:extLst>
          </p:cNvPr>
          <p:cNvSpPr>
            <a:spLocks noGrp="1"/>
          </p:cNvSpPr>
          <p:nvPr>
            <p:ph type="sldNum" sz="quarter" idx="12"/>
          </p:nvPr>
        </p:nvSpPr>
        <p:spPr/>
        <p:txBody>
          <a:bodyPr/>
          <a:lstStyle/>
          <a:p>
            <a:pPr>
              <a:defRPr/>
            </a:pPr>
            <a:fld id="{4669315E-5A66-CF44-AE5D-C333B2F730C4}" type="slidenum">
              <a:rPr lang="en-GB" smtClean="0"/>
              <a:pPr>
                <a:defRPr/>
              </a:pPr>
              <a:t>1</a:t>
            </a:fld>
            <a:endParaRPr lang="en-GB" dirty="0"/>
          </a:p>
        </p:txBody>
      </p:sp>
      <p:sp>
        <p:nvSpPr>
          <p:cNvPr id="11" name="Subtitle 10">
            <a:extLst>
              <a:ext uri="{FF2B5EF4-FFF2-40B4-BE49-F238E27FC236}">
                <a16:creationId xmlns:a16="http://schemas.microsoft.com/office/drawing/2014/main" id="{46DC9D99-1F7F-47C7-81A8-F46DACB0D72E}"/>
              </a:ext>
            </a:extLst>
          </p:cNvPr>
          <p:cNvSpPr>
            <a:spLocks noGrp="1"/>
          </p:cNvSpPr>
          <p:nvPr>
            <p:ph type="subTitle" idx="1"/>
          </p:nvPr>
        </p:nvSpPr>
        <p:spPr/>
        <p:txBody>
          <a:bodyPr/>
          <a:lstStyle/>
          <a:p>
            <a:r>
              <a:rPr lang="fi-FI" dirty="0"/>
              <a:t>Paulus Torkki</a:t>
            </a:r>
          </a:p>
          <a:p>
            <a:r>
              <a:rPr lang="fi-FI" dirty="0"/>
              <a:t>Apulaisprofessori, dosentti</a:t>
            </a:r>
          </a:p>
          <a:p>
            <a:r>
              <a:rPr lang="fi-FI" dirty="0"/>
              <a:t>HY, Aalto ja JYU</a:t>
            </a:r>
          </a:p>
          <a:p>
            <a:endParaRPr lang="fi-FI" dirty="0"/>
          </a:p>
          <a:p>
            <a:r>
              <a:rPr lang="fi-FI" dirty="0"/>
              <a:t>Puheenjohtaja </a:t>
            </a:r>
          </a:p>
          <a:p>
            <a:r>
              <a:rPr lang="fi-FI" dirty="0"/>
              <a:t>Vaikuttavuusseura ry</a:t>
            </a:r>
          </a:p>
        </p:txBody>
      </p:sp>
    </p:spTree>
    <p:extLst>
      <p:ext uri="{BB962C8B-B14F-4D97-AF65-F5344CB8AC3E}">
        <p14:creationId xmlns:p14="http://schemas.microsoft.com/office/powerpoint/2010/main" val="230297708"/>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AB56AA-25F2-3F1B-E516-BBE985B75897}"/>
              </a:ext>
            </a:extLst>
          </p:cNvPr>
          <p:cNvSpPr>
            <a:spLocks noGrp="1"/>
          </p:cNvSpPr>
          <p:nvPr>
            <p:ph idx="1"/>
          </p:nvPr>
        </p:nvSpPr>
        <p:spPr/>
        <p:txBody>
          <a:bodyPr/>
          <a:lstStyle/>
          <a:p>
            <a:pPr marL="92075" indent="0">
              <a:buNone/>
            </a:pPr>
            <a:endParaRPr lang="fi-FI" dirty="0"/>
          </a:p>
        </p:txBody>
      </p:sp>
      <p:sp>
        <p:nvSpPr>
          <p:cNvPr id="3" name="Date Placeholder 2">
            <a:extLst>
              <a:ext uri="{FF2B5EF4-FFF2-40B4-BE49-F238E27FC236}">
                <a16:creationId xmlns:a16="http://schemas.microsoft.com/office/drawing/2014/main" id="{0BA1BC4C-88B3-5587-9280-EFED045E1FAE}"/>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4" name="Footer Placeholder 3">
            <a:extLst>
              <a:ext uri="{FF2B5EF4-FFF2-40B4-BE49-F238E27FC236}">
                <a16:creationId xmlns:a16="http://schemas.microsoft.com/office/drawing/2014/main" id="{FE3F0EBD-CE45-4480-33D4-86389DCB4C53}"/>
              </a:ext>
            </a:extLst>
          </p:cNvPr>
          <p:cNvSpPr>
            <a:spLocks noGrp="1"/>
          </p:cNvSpPr>
          <p:nvPr>
            <p:ph type="ftr" sz="quarter" idx="11"/>
          </p:nvPr>
        </p:nvSpPr>
        <p:spPr/>
        <p:txBody>
          <a:bodyPr/>
          <a:lstStyle/>
          <a:p>
            <a:endParaRPr lang="fi-FI" dirty="0"/>
          </a:p>
        </p:txBody>
      </p:sp>
      <p:sp>
        <p:nvSpPr>
          <p:cNvPr id="5" name="Slide Number Placeholder 4">
            <a:extLst>
              <a:ext uri="{FF2B5EF4-FFF2-40B4-BE49-F238E27FC236}">
                <a16:creationId xmlns:a16="http://schemas.microsoft.com/office/drawing/2014/main" id="{57B94FC7-308C-BDC0-02D0-B6D7170096F1}"/>
              </a:ext>
            </a:extLst>
          </p:cNvPr>
          <p:cNvSpPr>
            <a:spLocks noGrp="1"/>
          </p:cNvSpPr>
          <p:nvPr>
            <p:ph type="sldNum" sz="quarter" idx="12"/>
          </p:nvPr>
        </p:nvSpPr>
        <p:spPr/>
        <p:txBody>
          <a:bodyPr/>
          <a:lstStyle/>
          <a:p>
            <a:pPr>
              <a:defRPr/>
            </a:pPr>
            <a:fld id="{4669315E-5A66-CF44-AE5D-C333B2F730C4}" type="slidenum">
              <a:rPr lang="en-GB" smtClean="0"/>
              <a:pPr>
                <a:defRPr/>
              </a:pPr>
              <a:t>10</a:t>
            </a:fld>
            <a:endParaRPr lang="en-GB" dirty="0"/>
          </a:p>
        </p:txBody>
      </p:sp>
      <p:sp>
        <p:nvSpPr>
          <p:cNvPr id="6" name="Title 5">
            <a:extLst>
              <a:ext uri="{FF2B5EF4-FFF2-40B4-BE49-F238E27FC236}">
                <a16:creationId xmlns:a16="http://schemas.microsoft.com/office/drawing/2014/main" id="{0C68659F-5D54-F09D-7205-8E8968530D3D}"/>
              </a:ext>
            </a:extLst>
          </p:cNvPr>
          <p:cNvSpPr>
            <a:spLocks noGrp="1"/>
          </p:cNvSpPr>
          <p:nvPr>
            <p:ph type="title"/>
          </p:nvPr>
        </p:nvSpPr>
        <p:spPr>
          <a:xfrm>
            <a:off x="2063552" y="260648"/>
            <a:ext cx="9722048" cy="970405"/>
          </a:xfrm>
        </p:spPr>
        <p:txBody>
          <a:bodyPr/>
          <a:lstStyle/>
          <a:p>
            <a:r>
              <a:rPr lang="fi-FI" sz="2800" dirty="0"/>
              <a:t>Viitekehysten avulla voidaan jäsentää ja hahmottaa vaikutusketjuja (Esimerkki </a:t>
            </a:r>
            <a:r>
              <a:rPr lang="en-US" sz="2800" dirty="0"/>
              <a:t>Canadian Academy of Health Sciences (CAHS) Framework)</a:t>
            </a:r>
            <a:endParaRPr lang="fi-FI" sz="2800" dirty="0"/>
          </a:p>
        </p:txBody>
      </p:sp>
      <p:pic>
        <p:nvPicPr>
          <p:cNvPr id="8" name="Picture 7">
            <a:extLst>
              <a:ext uri="{FF2B5EF4-FFF2-40B4-BE49-F238E27FC236}">
                <a16:creationId xmlns:a16="http://schemas.microsoft.com/office/drawing/2014/main" id="{C4BE1E74-F4FC-C444-C236-C45E71958EE4}"/>
              </a:ext>
            </a:extLst>
          </p:cNvPr>
          <p:cNvPicPr>
            <a:picLocks noChangeAspect="1"/>
          </p:cNvPicPr>
          <p:nvPr/>
        </p:nvPicPr>
        <p:blipFill rotWithShape="1">
          <a:blip r:embed="rId2"/>
          <a:srcRect l="20259" t="19551" r="5113" b="8001"/>
          <a:stretch/>
        </p:blipFill>
        <p:spPr>
          <a:xfrm>
            <a:off x="1991544" y="1772816"/>
            <a:ext cx="8458525" cy="4618992"/>
          </a:xfrm>
          <a:prstGeom prst="rect">
            <a:avLst/>
          </a:prstGeom>
        </p:spPr>
      </p:pic>
    </p:spTree>
    <p:extLst>
      <p:ext uri="{BB962C8B-B14F-4D97-AF65-F5344CB8AC3E}">
        <p14:creationId xmlns:p14="http://schemas.microsoft.com/office/powerpoint/2010/main" val="360841514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C12BBD-77DA-C53D-34AB-5E6B9A804278}"/>
              </a:ext>
            </a:extLst>
          </p:cNvPr>
          <p:cNvSpPr>
            <a:spLocks noGrp="1"/>
          </p:cNvSpPr>
          <p:nvPr>
            <p:ph idx="1"/>
          </p:nvPr>
        </p:nvSpPr>
        <p:spPr/>
        <p:txBody>
          <a:bodyPr/>
          <a:lstStyle/>
          <a:p>
            <a:endParaRPr lang="fi-FI"/>
          </a:p>
        </p:txBody>
      </p:sp>
      <p:sp>
        <p:nvSpPr>
          <p:cNvPr id="3" name="Date Placeholder 2">
            <a:extLst>
              <a:ext uri="{FF2B5EF4-FFF2-40B4-BE49-F238E27FC236}">
                <a16:creationId xmlns:a16="http://schemas.microsoft.com/office/drawing/2014/main" id="{1A13FDC3-F1FE-10E3-E1EF-C969DD0F4990}"/>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5FFA9506-2D9D-FEC8-7797-ABBFD953429C}"/>
              </a:ext>
            </a:extLst>
          </p:cNvPr>
          <p:cNvSpPr>
            <a:spLocks noGrp="1"/>
          </p:cNvSpPr>
          <p:nvPr>
            <p:ph type="sldNum" sz="quarter" idx="12"/>
          </p:nvPr>
        </p:nvSpPr>
        <p:spPr/>
        <p:txBody>
          <a:bodyPr/>
          <a:lstStyle/>
          <a:p>
            <a:pPr>
              <a:defRPr/>
            </a:pPr>
            <a:fld id="{4669315E-5A66-CF44-AE5D-C333B2F730C4}" type="slidenum">
              <a:rPr lang="en-GB" smtClean="0"/>
              <a:pPr>
                <a:defRPr/>
              </a:pPr>
              <a:t>11</a:t>
            </a:fld>
            <a:endParaRPr lang="en-GB" dirty="0"/>
          </a:p>
        </p:txBody>
      </p:sp>
      <p:sp>
        <p:nvSpPr>
          <p:cNvPr id="6" name="Title 5">
            <a:extLst>
              <a:ext uri="{FF2B5EF4-FFF2-40B4-BE49-F238E27FC236}">
                <a16:creationId xmlns:a16="http://schemas.microsoft.com/office/drawing/2014/main" id="{92871B38-B643-9BCA-F342-26ECB4E64D23}"/>
              </a:ext>
            </a:extLst>
          </p:cNvPr>
          <p:cNvSpPr>
            <a:spLocks noGrp="1"/>
          </p:cNvSpPr>
          <p:nvPr>
            <p:ph type="title"/>
          </p:nvPr>
        </p:nvSpPr>
        <p:spPr/>
        <p:txBody>
          <a:bodyPr/>
          <a:lstStyle/>
          <a:p>
            <a:r>
              <a:rPr lang="fi-FI" dirty="0"/>
              <a:t>Miten eri vaiheita mitataan?</a:t>
            </a:r>
          </a:p>
        </p:txBody>
      </p:sp>
      <p:pic>
        <p:nvPicPr>
          <p:cNvPr id="8" name="Picture 7">
            <a:extLst>
              <a:ext uri="{FF2B5EF4-FFF2-40B4-BE49-F238E27FC236}">
                <a16:creationId xmlns:a16="http://schemas.microsoft.com/office/drawing/2014/main" id="{593F15D1-AEFE-1631-8E7D-3EB218C3B38F}"/>
              </a:ext>
            </a:extLst>
          </p:cNvPr>
          <p:cNvPicPr>
            <a:picLocks noChangeAspect="1"/>
          </p:cNvPicPr>
          <p:nvPr/>
        </p:nvPicPr>
        <p:blipFill rotWithShape="1">
          <a:blip r:embed="rId2"/>
          <a:srcRect l="35825" t="17451" r="23422" b="9753"/>
          <a:stretch/>
        </p:blipFill>
        <p:spPr>
          <a:xfrm>
            <a:off x="695400" y="1794847"/>
            <a:ext cx="4392488" cy="4413540"/>
          </a:xfrm>
          <a:prstGeom prst="rect">
            <a:avLst/>
          </a:prstGeom>
        </p:spPr>
      </p:pic>
      <p:pic>
        <p:nvPicPr>
          <p:cNvPr id="10" name="Picture 9">
            <a:extLst>
              <a:ext uri="{FF2B5EF4-FFF2-40B4-BE49-F238E27FC236}">
                <a16:creationId xmlns:a16="http://schemas.microsoft.com/office/drawing/2014/main" id="{38BDD242-2705-C8BE-7477-7E32CDF0F0FF}"/>
              </a:ext>
            </a:extLst>
          </p:cNvPr>
          <p:cNvPicPr>
            <a:picLocks noChangeAspect="1"/>
          </p:cNvPicPr>
          <p:nvPr/>
        </p:nvPicPr>
        <p:blipFill rotWithShape="1">
          <a:blip r:embed="rId3"/>
          <a:srcRect l="26966" t="23750" r="13972" b="19550"/>
          <a:stretch/>
        </p:blipFill>
        <p:spPr>
          <a:xfrm>
            <a:off x="5447928" y="1916832"/>
            <a:ext cx="6647500" cy="3589650"/>
          </a:xfrm>
          <a:prstGeom prst="rect">
            <a:avLst/>
          </a:prstGeom>
        </p:spPr>
      </p:pic>
      <p:cxnSp>
        <p:nvCxnSpPr>
          <p:cNvPr id="12" name="Straight Connector 11">
            <a:extLst>
              <a:ext uri="{FF2B5EF4-FFF2-40B4-BE49-F238E27FC236}">
                <a16:creationId xmlns:a16="http://schemas.microsoft.com/office/drawing/2014/main" id="{5579883F-143D-CF87-0C4A-0934F7B5EEFB}"/>
              </a:ext>
            </a:extLst>
          </p:cNvPr>
          <p:cNvCxnSpPr>
            <a:cxnSpLocks/>
          </p:cNvCxnSpPr>
          <p:nvPr/>
        </p:nvCxnSpPr>
        <p:spPr>
          <a:xfrm flipV="1">
            <a:off x="4907868" y="2007132"/>
            <a:ext cx="684076" cy="10104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F77A966-DDC7-5FDE-F66A-6F84F4E64680}"/>
              </a:ext>
            </a:extLst>
          </p:cNvPr>
          <p:cNvCxnSpPr>
            <a:cxnSpLocks/>
          </p:cNvCxnSpPr>
          <p:nvPr/>
        </p:nvCxnSpPr>
        <p:spPr>
          <a:xfrm>
            <a:off x="4907868" y="2518198"/>
            <a:ext cx="684076" cy="298567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076414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0A4A85-A8D1-E77F-3EB4-493160658B24}"/>
              </a:ext>
            </a:extLst>
          </p:cNvPr>
          <p:cNvSpPr>
            <a:spLocks noGrp="1"/>
          </p:cNvSpPr>
          <p:nvPr>
            <p:ph idx="1"/>
          </p:nvPr>
        </p:nvSpPr>
        <p:spPr/>
        <p:txBody>
          <a:bodyPr/>
          <a:lstStyle/>
          <a:p>
            <a:r>
              <a:rPr lang="fi-FI" dirty="0"/>
              <a:t>Loogisten vaikuttavuusarviointien ohella on tehty myös laadulliseen arviointiin pohjaavia viitekehyksiä</a:t>
            </a:r>
          </a:p>
          <a:p>
            <a:r>
              <a:rPr lang="fi-FI" dirty="0"/>
              <a:t>Yksi tällainen on esimerkiksi Ison-Britannian tutkimuksen arviointi, </a:t>
            </a:r>
            <a:r>
              <a:rPr lang="fi-FI" dirty="0" err="1"/>
              <a:t>Research</a:t>
            </a:r>
            <a:r>
              <a:rPr lang="fi-FI" dirty="0"/>
              <a:t> Excellence Framework (REF)</a:t>
            </a:r>
          </a:p>
          <a:p>
            <a:pPr lvl="1"/>
            <a:r>
              <a:rPr lang="en-US" dirty="0"/>
              <a:t>For each submission, three distinct elements were assessed: </a:t>
            </a:r>
          </a:p>
          <a:p>
            <a:pPr marL="839788" lvl="1" indent="-457200">
              <a:buAutoNum type="arabicParenR"/>
            </a:pPr>
            <a:r>
              <a:rPr lang="en-US" dirty="0"/>
              <a:t>the quality of outputs (e.g. publications, performances, exhibitions)</a:t>
            </a:r>
          </a:p>
          <a:p>
            <a:pPr marL="839788" lvl="1" indent="-457200">
              <a:buAutoNum type="arabicParenR"/>
            </a:pPr>
            <a:r>
              <a:rPr lang="en-US" dirty="0"/>
              <a:t>their impact beyond academia, </a:t>
            </a:r>
          </a:p>
          <a:p>
            <a:pPr marL="839788" lvl="1" indent="-457200">
              <a:buAutoNum type="arabicParenR"/>
            </a:pPr>
            <a:r>
              <a:rPr lang="en-US" dirty="0"/>
              <a:t>and the environment that supports research.</a:t>
            </a:r>
            <a:endParaRPr lang="fi-FI" dirty="0"/>
          </a:p>
        </p:txBody>
      </p:sp>
      <p:sp>
        <p:nvSpPr>
          <p:cNvPr id="3" name="Date Placeholder 2">
            <a:extLst>
              <a:ext uri="{FF2B5EF4-FFF2-40B4-BE49-F238E27FC236}">
                <a16:creationId xmlns:a16="http://schemas.microsoft.com/office/drawing/2014/main" id="{4832030B-4AA1-B6EE-FE2F-3C6D15B9CEAF}"/>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554D4F46-B4C1-6804-41F9-2F64DC8CCCA5}"/>
              </a:ext>
            </a:extLst>
          </p:cNvPr>
          <p:cNvSpPr>
            <a:spLocks noGrp="1"/>
          </p:cNvSpPr>
          <p:nvPr>
            <p:ph type="sldNum" sz="quarter" idx="12"/>
          </p:nvPr>
        </p:nvSpPr>
        <p:spPr/>
        <p:txBody>
          <a:bodyPr/>
          <a:lstStyle/>
          <a:p>
            <a:pPr>
              <a:defRPr/>
            </a:pPr>
            <a:fld id="{4669315E-5A66-CF44-AE5D-C333B2F730C4}" type="slidenum">
              <a:rPr lang="en-GB" smtClean="0"/>
              <a:pPr>
                <a:defRPr/>
              </a:pPr>
              <a:t>12</a:t>
            </a:fld>
            <a:endParaRPr lang="en-GB" dirty="0"/>
          </a:p>
        </p:txBody>
      </p:sp>
      <p:sp>
        <p:nvSpPr>
          <p:cNvPr id="6" name="Title 5">
            <a:extLst>
              <a:ext uri="{FF2B5EF4-FFF2-40B4-BE49-F238E27FC236}">
                <a16:creationId xmlns:a16="http://schemas.microsoft.com/office/drawing/2014/main" id="{A8335CB0-2FB7-1ED4-3C43-B56A27F1AFD9}"/>
              </a:ext>
            </a:extLst>
          </p:cNvPr>
          <p:cNvSpPr>
            <a:spLocks noGrp="1"/>
          </p:cNvSpPr>
          <p:nvPr>
            <p:ph type="title"/>
          </p:nvPr>
        </p:nvSpPr>
        <p:spPr/>
        <p:txBody>
          <a:bodyPr/>
          <a:lstStyle/>
          <a:p>
            <a:r>
              <a:rPr lang="fi-FI" dirty="0"/>
              <a:t>Mitä muita tapoja arvioida vaikuttavuutta?</a:t>
            </a:r>
          </a:p>
        </p:txBody>
      </p:sp>
    </p:spTree>
    <p:extLst>
      <p:ext uri="{BB962C8B-B14F-4D97-AF65-F5344CB8AC3E}">
        <p14:creationId xmlns:p14="http://schemas.microsoft.com/office/powerpoint/2010/main" val="1091541470"/>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D6BB4B-C5E5-699E-AAB8-C2BA48E219C1}"/>
              </a:ext>
            </a:extLst>
          </p:cNvPr>
          <p:cNvSpPr>
            <a:spLocks noGrp="1"/>
          </p:cNvSpPr>
          <p:nvPr>
            <p:ph idx="1"/>
          </p:nvPr>
        </p:nvSpPr>
        <p:spPr/>
        <p:txBody>
          <a:bodyPr/>
          <a:lstStyle/>
          <a:p>
            <a:r>
              <a:rPr lang="fi-FI" dirty="0"/>
              <a:t>Arviointiraportissa on esitetty yhteenvetona:</a:t>
            </a:r>
          </a:p>
          <a:p>
            <a:pPr lvl="1"/>
            <a:r>
              <a:rPr lang="fi-FI" dirty="0"/>
              <a:t>noin 70 prosenttia tuloksista ja aineistoista on avoimesti saatavilla</a:t>
            </a:r>
          </a:p>
          <a:p>
            <a:pPr lvl="1"/>
            <a:r>
              <a:rPr lang="fi-FI" dirty="0"/>
              <a:t>viidessä prosentissa hankkeista haetaan ja kahdelle prosentille on myönnetty patentti </a:t>
            </a:r>
          </a:p>
          <a:p>
            <a:pPr lvl="1"/>
            <a:r>
              <a:rPr lang="fi-FI" dirty="0"/>
              <a:t>Akatemian myöntämää tuhatta euroa kohden </a:t>
            </a:r>
            <a:r>
              <a:rPr lang="fi-FI" dirty="0" err="1"/>
              <a:t>vivutetaan</a:t>
            </a:r>
            <a:r>
              <a:rPr lang="fi-FI" dirty="0"/>
              <a:t> 400 euroa muuta rahoitusta </a:t>
            </a:r>
          </a:p>
          <a:p>
            <a:pPr lvl="1"/>
            <a:r>
              <a:rPr lang="fi-FI" dirty="0"/>
              <a:t>kymmentä hanketta kohden koulutetaan noin yhdeksän tohtoria ja yhdeksän ylemmän korkeakoulututkinnon osaajaa • hankkeissa tehdään laajaa sidosryhmätyötä ja </a:t>
            </a:r>
          </a:p>
          <a:p>
            <a:pPr lvl="1"/>
            <a:r>
              <a:rPr lang="fi-FI" dirty="0"/>
              <a:t>keskimäärin 60 prosenttia hankkeista on tunnistanut laajemman yhteiskunnallisen vaikutuksen tai potentiaalista vaikuttavuutta pidemmällä aikajänteellä jo hankkeen päättyessä.</a:t>
            </a:r>
          </a:p>
        </p:txBody>
      </p:sp>
      <p:sp>
        <p:nvSpPr>
          <p:cNvPr id="3" name="Date Placeholder 2">
            <a:extLst>
              <a:ext uri="{FF2B5EF4-FFF2-40B4-BE49-F238E27FC236}">
                <a16:creationId xmlns:a16="http://schemas.microsoft.com/office/drawing/2014/main" id="{90C7091E-A55E-C77E-5B3F-E074DDC06063}"/>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4" name="Footer Placeholder 3">
            <a:extLst>
              <a:ext uri="{FF2B5EF4-FFF2-40B4-BE49-F238E27FC236}">
                <a16:creationId xmlns:a16="http://schemas.microsoft.com/office/drawing/2014/main" id="{7E2A190D-8EED-0C9E-7055-68D82A902853}"/>
              </a:ext>
            </a:extLst>
          </p:cNvPr>
          <p:cNvSpPr>
            <a:spLocks noGrp="1"/>
          </p:cNvSpPr>
          <p:nvPr>
            <p:ph type="ftr" sz="quarter" idx="11"/>
          </p:nvPr>
        </p:nvSpPr>
        <p:spPr>
          <a:xfrm>
            <a:off x="6168008" y="6309319"/>
            <a:ext cx="4343992" cy="455897"/>
          </a:xfrm>
        </p:spPr>
        <p:txBody>
          <a:bodyPr/>
          <a:lstStyle/>
          <a:p>
            <a:r>
              <a:rPr lang="fi-FI" dirty="0"/>
              <a:t>Taajamaa L. Tiede yhteiskunnan rakentajana: tilastollinen tarkastelu tutkimuksen laajemmasta vaikuttavuudesta Suomen Akatemian hankeraporttien pohjalta. </a:t>
            </a:r>
          </a:p>
        </p:txBody>
      </p:sp>
      <p:sp>
        <p:nvSpPr>
          <p:cNvPr id="5" name="Slide Number Placeholder 4">
            <a:extLst>
              <a:ext uri="{FF2B5EF4-FFF2-40B4-BE49-F238E27FC236}">
                <a16:creationId xmlns:a16="http://schemas.microsoft.com/office/drawing/2014/main" id="{63B36FCD-5D9A-2DE4-A3D8-804CFB960ED0}"/>
              </a:ext>
            </a:extLst>
          </p:cNvPr>
          <p:cNvSpPr>
            <a:spLocks noGrp="1"/>
          </p:cNvSpPr>
          <p:nvPr>
            <p:ph type="sldNum" sz="quarter" idx="12"/>
          </p:nvPr>
        </p:nvSpPr>
        <p:spPr/>
        <p:txBody>
          <a:bodyPr/>
          <a:lstStyle/>
          <a:p>
            <a:pPr>
              <a:defRPr/>
            </a:pPr>
            <a:fld id="{4669315E-5A66-CF44-AE5D-C333B2F730C4}" type="slidenum">
              <a:rPr lang="en-GB" smtClean="0"/>
              <a:pPr>
                <a:defRPr/>
              </a:pPr>
              <a:t>13</a:t>
            </a:fld>
            <a:endParaRPr lang="en-GB" dirty="0"/>
          </a:p>
        </p:txBody>
      </p:sp>
      <p:sp>
        <p:nvSpPr>
          <p:cNvPr id="6" name="Title 5">
            <a:extLst>
              <a:ext uri="{FF2B5EF4-FFF2-40B4-BE49-F238E27FC236}">
                <a16:creationId xmlns:a16="http://schemas.microsoft.com/office/drawing/2014/main" id="{1A7E43A7-61C4-B5C9-658A-54DC83740B74}"/>
              </a:ext>
            </a:extLst>
          </p:cNvPr>
          <p:cNvSpPr>
            <a:spLocks noGrp="1"/>
          </p:cNvSpPr>
          <p:nvPr>
            <p:ph type="title"/>
          </p:nvPr>
        </p:nvSpPr>
        <p:spPr/>
        <p:txBody>
          <a:bodyPr/>
          <a:lstStyle/>
          <a:p>
            <a:r>
              <a:rPr lang="fi-FI" sz="3200" dirty="0"/>
              <a:t>Mitä esimerkiksi suomen akatemia arvioi yhteiskunnallisina vaikutuksina?</a:t>
            </a:r>
          </a:p>
        </p:txBody>
      </p:sp>
    </p:spTree>
    <p:extLst>
      <p:ext uri="{BB962C8B-B14F-4D97-AF65-F5344CB8AC3E}">
        <p14:creationId xmlns:p14="http://schemas.microsoft.com/office/powerpoint/2010/main" val="2556633890"/>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6E8C3BD-5721-97B3-F333-36EA0D4B52C3}"/>
              </a:ext>
            </a:extLst>
          </p:cNvPr>
          <p:cNvSpPr>
            <a:spLocks noGrp="1"/>
          </p:cNvSpPr>
          <p:nvPr>
            <p:ph idx="1"/>
          </p:nvPr>
        </p:nvSpPr>
        <p:spPr/>
        <p:txBody>
          <a:bodyPr/>
          <a:lstStyle/>
          <a:p>
            <a:r>
              <a:rPr lang="fi-FI" dirty="0"/>
              <a:t>On hyvä pohtia, mihin tutkimuksella pyrkii </a:t>
            </a:r>
            <a:r>
              <a:rPr lang="fi-FI" dirty="0">
                <a:sym typeface="Wingdings" panose="05000000000000000000" pitchFamily="2" charset="2"/>
              </a:rPr>
              <a:t></a:t>
            </a:r>
            <a:r>
              <a:rPr lang="fi-FI" dirty="0"/>
              <a:t> tavoitteet</a:t>
            </a:r>
          </a:p>
          <a:p>
            <a:pPr lvl="1"/>
            <a:r>
              <a:rPr lang="fi-FI" dirty="0"/>
              <a:t>Auttaa hahmottamaan, mitkä tekijät ovat kriittisiä vaikutusten aikaansaamiseksi</a:t>
            </a:r>
          </a:p>
          <a:p>
            <a:pPr lvl="1"/>
            <a:r>
              <a:rPr lang="fi-FI" dirty="0"/>
              <a:t>Pyritäänkö ensisijaisesti vaikuttamaan asiantuntijoihin (esim. lääketiede) vai päättäjiin (esim. terveydenhuoltotutkimus), jota kautta saadaan aikaan haluttu muutos </a:t>
            </a:r>
            <a:r>
              <a:rPr lang="fi-FI" dirty="0">
                <a:sym typeface="Wingdings" panose="05000000000000000000" pitchFamily="2" charset="2"/>
              </a:rPr>
              <a:t> vaikutus</a:t>
            </a:r>
            <a:endParaRPr lang="fi-FI" dirty="0"/>
          </a:p>
          <a:p>
            <a:r>
              <a:rPr lang="fi-FI" dirty="0"/>
              <a:t>Kaikki lähtee laadukkaasta tutkimuksesta</a:t>
            </a:r>
          </a:p>
          <a:p>
            <a:pPr lvl="1"/>
            <a:r>
              <a:rPr lang="fi-FI" dirty="0"/>
              <a:t>Hyvät tutkimusasetelmat (tämä on tärkeimpiä asioita korkeatasoisten julkaisujen kannalta)</a:t>
            </a:r>
          </a:p>
          <a:p>
            <a:pPr lvl="1"/>
            <a:r>
              <a:rPr lang="fi-FI" dirty="0"/>
              <a:t>Kunnianhimoinen julkaisustrategia</a:t>
            </a:r>
          </a:p>
          <a:p>
            <a:pPr lvl="1"/>
            <a:r>
              <a:rPr lang="fi-FI" dirty="0"/>
              <a:t>Tulosten aktiivinen viestintä oleellisille sidosryhmille</a:t>
            </a:r>
          </a:p>
          <a:p>
            <a:endParaRPr lang="fi-FI" dirty="0"/>
          </a:p>
        </p:txBody>
      </p:sp>
      <p:sp>
        <p:nvSpPr>
          <p:cNvPr id="3" name="Date Placeholder 2">
            <a:extLst>
              <a:ext uri="{FF2B5EF4-FFF2-40B4-BE49-F238E27FC236}">
                <a16:creationId xmlns:a16="http://schemas.microsoft.com/office/drawing/2014/main" id="{8546A1E2-34AB-1AD3-EE22-57B208F03C21}"/>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F519549D-DCF3-BB92-AC5A-79E855AFB01E}"/>
              </a:ext>
            </a:extLst>
          </p:cNvPr>
          <p:cNvSpPr>
            <a:spLocks noGrp="1"/>
          </p:cNvSpPr>
          <p:nvPr>
            <p:ph type="sldNum" sz="quarter" idx="12"/>
          </p:nvPr>
        </p:nvSpPr>
        <p:spPr/>
        <p:txBody>
          <a:bodyPr/>
          <a:lstStyle/>
          <a:p>
            <a:pPr>
              <a:defRPr/>
            </a:pPr>
            <a:fld id="{4669315E-5A66-CF44-AE5D-C333B2F730C4}" type="slidenum">
              <a:rPr lang="en-GB" smtClean="0"/>
              <a:pPr>
                <a:defRPr/>
              </a:pPr>
              <a:t>14</a:t>
            </a:fld>
            <a:endParaRPr lang="en-GB" dirty="0"/>
          </a:p>
        </p:txBody>
      </p:sp>
      <p:sp>
        <p:nvSpPr>
          <p:cNvPr id="6" name="Title 5">
            <a:extLst>
              <a:ext uri="{FF2B5EF4-FFF2-40B4-BE49-F238E27FC236}">
                <a16:creationId xmlns:a16="http://schemas.microsoft.com/office/drawing/2014/main" id="{DCB5FE14-044E-4004-E455-2884B49C2E77}"/>
              </a:ext>
            </a:extLst>
          </p:cNvPr>
          <p:cNvSpPr>
            <a:spLocks noGrp="1"/>
          </p:cNvSpPr>
          <p:nvPr>
            <p:ph type="title"/>
          </p:nvPr>
        </p:nvSpPr>
        <p:spPr/>
        <p:txBody>
          <a:bodyPr/>
          <a:lstStyle/>
          <a:p>
            <a:r>
              <a:rPr lang="fi-FI" dirty="0"/>
              <a:t>Monimutkaisesta yksinkertaiseen</a:t>
            </a:r>
          </a:p>
        </p:txBody>
      </p:sp>
    </p:spTree>
    <p:extLst>
      <p:ext uri="{BB962C8B-B14F-4D97-AF65-F5344CB8AC3E}">
        <p14:creationId xmlns:p14="http://schemas.microsoft.com/office/powerpoint/2010/main" val="3486073208"/>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47C98D-3F30-AE47-6E11-E26B7AFF6715}"/>
              </a:ext>
            </a:extLst>
          </p:cNvPr>
          <p:cNvSpPr>
            <a:spLocks noGrp="1"/>
          </p:cNvSpPr>
          <p:nvPr>
            <p:ph idx="1"/>
          </p:nvPr>
        </p:nvSpPr>
        <p:spPr/>
        <p:txBody>
          <a:bodyPr/>
          <a:lstStyle/>
          <a:p>
            <a:pPr algn="l">
              <a:buFont typeface="+mj-lt"/>
              <a:buAutoNum type="arabicPeriod"/>
            </a:pPr>
            <a:r>
              <a:rPr lang="fi-FI" sz="1800" b="1" i="0" dirty="0">
                <a:solidFill>
                  <a:srgbClr val="374151"/>
                </a:solidFill>
                <a:effectLst/>
                <a:latin typeface="Söhne"/>
              </a:rPr>
              <a:t>Tieteelliset julkaisut</a:t>
            </a:r>
            <a:endParaRPr lang="fi-FI" sz="1800" b="0" i="0" dirty="0">
              <a:solidFill>
                <a:srgbClr val="374151"/>
              </a:solidFill>
              <a:effectLst/>
              <a:latin typeface="Söhne"/>
            </a:endParaRPr>
          </a:p>
          <a:p>
            <a:pPr algn="l">
              <a:buFont typeface="+mj-lt"/>
              <a:buAutoNum type="arabicPeriod"/>
            </a:pPr>
            <a:r>
              <a:rPr lang="fi-FI" sz="1800" b="1" i="0" dirty="0">
                <a:solidFill>
                  <a:srgbClr val="374151"/>
                </a:solidFill>
                <a:effectLst/>
                <a:latin typeface="Söhne"/>
              </a:rPr>
              <a:t>Viittaukset</a:t>
            </a:r>
          </a:p>
          <a:p>
            <a:pPr algn="l">
              <a:buFont typeface="+mj-lt"/>
              <a:buAutoNum type="arabicPeriod"/>
            </a:pPr>
            <a:r>
              <a:rPr lang="fi-FI" sz="1800" b="1" i="0" dirty="0">
                <a:solidFill>
                  <a:srgbClr val="374151"/>
                </a:solidFill>
                <a:effectLst/>
                <a:latin typeface="Söhne"/>
              </a:rPr>
              <a:t>Kansainvälinen yhteistyö</a:t>
            </a:r>
          </a:p>
          <a:p>
            <a:pPr algn="l">
              <a:buFont typeface="+mj-lt"/>
              <a:buAutoNum type="arabicPeriod"/>
            </a:pPr>
            <a:r>
              <a:rPr lang="fi-FI" sz="1800" b="1" i="0" dirty="0">
                <a:solidFill>
                  <a:srgbClr val="374151"/>
                </a:solidFill>
                <a:effectLst/>
                <a:latin typeface="Söhne"/>
              </a:rPr>
              <a:t>Tutkimusrahoitus</a:t>
            </a:r>
          </a:p>
          <a:p>
            <a:pPr algn="l">
              <a:buFont typeface="+mj-lt"/>
              <a:buAutoNum type="arabicPeriod"/>
            </a:pPr>
            <a:r>
              <a:rPr lang="fi-FI" sz="2400" b="1" i="0" dirty="0">
                <a:solidFill>
                  <a:srgbClr val="374151"/>
                </a:solidFill>
                <a:effectLst/>
                <a:latin typeface="Söhne"/>
              </a:rPr>
              <a:t>Yhteiskunnallinen merkitys ja vaikutukset</a:t>
            </a:r>
          </a:p>
          <a:p>
            <a:pPr marL="92075" indent="0" algn="l">
              <a:buNone/>
            </a:pPr>
            <a:r>
              <a:rPr lang="fi-FI" sz="1800" b="1" dirty="0">
                <a:solidFill>
                  <a:srgbClr val="374151"/>
                </a:solidFill>
                <a:latin typeface="Söhne"/>
              </a:rPr>
              <a:t>- innovaatiot, patentit, uudet yritykset, muutokset toiminnoissa, palveluissa…</a:t>
            </a:r>
            <a:endParaRPr lang="fi-FI" sz="1400" dirty="0"/>
          </a:p>
          <a:p>
            <a:pPr marL="92075" indent="0">
              <a:buNone/>
            </a:pPr>
            <a:endParaRPr lang="fi-FI" sz="1800" dirty="0"/>
          </a:p>
          <a:p>
            <a:pPr marL="92075" indent="0">
              <a:buNone/>
            </a:pPr>
            <a:r>
              <a:rPr lang="fi-FI" sz="1800" dirty="0"/>
              <a:t>Viitekehysten avulla voidaan jäsentää vaikutusketjuja ja hahmottaa esimerkiksi suoria ja epäsuoria sekä lyhyen ja pitkän aikavälin vaikutuksia ja vaikuttavuutta</a:t>
            </a:r>
          </a:p>
        </p:txBody>
      </p:sp>
      <p:sp>
        <p:nvSpPr>
          <p:cNvPr id="3" name="Date Placeholder 2">
            <a:extLst>
              <a:ext uri="{FF2B5EF4-FFF2-40B4-BE49-F238E27FC236}">
                <a16:creationId xmlns:a16="http://schemas.microsoft.com/office/drawing/2014/main" id="{FCC8B6CE-9B46-7A6B-B2D3-F0ED809A8CF0}"/>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2811327E-F368-D425-703B-974A87B1D1DD}"/>
              </a:ext>
            </a:extLst>
          </p:cNvPr>
          <p:cNvSpPr>
            <a:spLocks noGrp="1"/>
          </p:cNvSpPr>
          <p:nvPr>
            <p:ph type="sldNum" sz="quarter" idx="12"/>
          </p:nvPr>
        </p:nvSpPr>
        <p:spPr/>
        <p:txBody>
          <a:bodyPr/>
          <a:lstStyle/>
          <a:p>
            <a:pPr>
              <a:defRPr/>
            </a:pPr>
            <a:fld id="{4669315E-5A66-CF44-AE5D-C333B2F730C4}" type="slidenum">
              <a:rPr lang="en-GB" smtClean="0"/>
              <a:pPr>
                <a:defRPr/>
              </a:pPr>
              <a:t>15</a:t>
            </a:fld>
            <a:endParaRPr lang="en-GB" dirty="0"/>
          </a:p>
        </p:txBody>
      </p:sp>
      <p:sp>
        <p:nvSpPr>
          <p:cNvPr id="6" name="Title 5">
            <a:extLst>
              <a:ext uri="{FF2B5EF4-FFF2-40B4-BE49-F238E27FC236}">
                <a16:creationId xmlns:a16="http://schemas.microsoft.com/office/drawing/2014/main" id="{2927232A-01E3-984C-2C2E-8B4CED96A52B}"/>
              </a:ext>
            </a:extLst>
          </p:cNvPr>
          <p:cNvSpPr>
            <a:spLocks noGrp="1"/>
          </p:cNvSpPr>
          <p:nvPr>
            <p:ph type="title"/>
          </p:nvPr>
        </p:nvSpPr>
        <p:spPr/>
        <p:txBody>
          <a:bodyPr/>
          <a:lstStyle/>
          <a:p>
            <a:r>
              <a:rPr lang="fi-FI" dirty="0"/>
              <a:t>Yhteenveto: millaisista asioista tutkimuksen vaikuttavuus koostuu</a:t>
            </a:r>
          </a:p>
        </p:txBody>
      </p:sp>
      <p:pic>
        <p:nvPicPr>
          <p:cNvPr id="4" name="Picture 3">
            <a:extLst>
              <a:ext uri="{FF2B5EF4-FFF2-40B4-BE49-F238E27FC236}">
                <a16:creationId xmlns:a16="http://schemas.microsoft.com/office/drawing/2014/main" id="{165935DF-5E65-D132-8E7B-B695938A0203}"/>
              </a:ext>
            </a:extLst>
          </p:cNvPr>
          <p:cNvPicPr>
            <a:picLocks noChangeAspect="1"/>
          </p:cNvPicPr>
          <p:nvPr/>
        </p:nvPicPr>
        <p:blipFill rotWithShape="1">
          <a:blip r:embed="rId3"/>
          <a:srcRect l="20259" t="19551" r="5113" b="8001"/>
          <a:stretch/>
        </p:blipFill>
        <p:spPr>
          <a:xfrm>
            <a:off x="7824192" y="2037098"/>
            <a:ext cx="3867567" cy="2111983"/>
          </a:xfrm>
          <a:prstGeom prst="rect">
            <a:avLst/>
          </a:prstGeom>
        </p:spPr>
      </p:pic>
    </p:spTree>
    <p:extLst>
      <p:ext uri="{BB962C8B-B14F-4D97-AF65-F5344CB8AC3E}">
        <p14:creationId xmlns:p14="http://schemas.microsoft.com/office/powerpoint/2010/main" val="249309072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E7752-FC95-2F52-AB4A-BB1A1DBEBFEB}"/>
            </a:ext>
          </a:extLst>
        </p:cNvPr>
        <p:cNvGrpSpPr/>
        <p:nvPr/>
      </p:nvGrpSpPr>
      <p:grpSpPr>
        <a:xfrm>
          <a:off x="0" y="0"/>
          <a:ext cx="0" cy="0"/>
          <a:chOff x="0" y="0"/>
          <a:chExt cx="0" cy="0"/>
        </a:xfrm>
      </p:grpSpPr>
      <p:sp>
        <p:nvSpPr>
          <p:cNvPr id="8" name="Subtitle 7">
            <a:extLst>
              <a:ext uri="{FF2B5EF4-FFF2-40B4-BE49-F238E27FC236}">
                <a16:creationId xmlns:a16="http://schemas.microsoft.com/office/drawing/2014/main" id="{68B7342B-F66A-D69E-1516-5B9CE52D70F7}"/>
              </a:ext>
            </a:extLst>
          </p:cNvPr>
          <p:cNvSpPr>
            <a:spLocks noGrp="1"/>
          </p:cNvSpPr>
          <p:nvPr>
            <p:ph type="subTitle" idx="1"/>
          </p:nvPr>
        </p:nvSpPr>
        <p:spPr/>
        <p:txBody>
          <a:bodyPr/>
          <a:lstStyle/>
          <a:p>
            <a:endParaRPr lang="fi-FI"/>
          </a:p>
        </p:txBody>
      </p:sp>
      <p:sp>
        <p:nvSpPr>
          <p:cNvPr id="7" name="Title 6">
            <a:extLst>
              <a:ext uri="{FF2B5EF4-FFF2-40B4-BE49-F238E27FC236}">
                <a16:creationId xmlns:a16="http://schemas.microsoft.com/office/drawing/2014/main" id="{A2203287-1224-FE9A-B3C4-CD4DD733BB70}"/>
              </a:ext>
            </a:extLst>
          </p:cNvPr>
          <p:cNvSpPr>
            <a:spLocks noGrp="1"/>
          </p:cNvSpPr>
          <p:nvPr>
            <p:ph type="ctrTitle"/>
          </p:nvPr>
        </p:nvSpPr>
        <p:spPr/>
        <p:txBody>
          <a:bodyPr/>
          <a:lstStyle/>
          <a:p>
            <a:r>
              <a:rPr lang="fi-FI" dirty="0"/>
              <a:t>Mitä teoriassa?</a:t>
            </a:r>
          </a:p>
        </p:txBody>
      </p:sp>
      <p:sp>
        <p:nvSpPr>
          <p:cNvPr id="3" name="Date Placeholder 2">
            <a:extLst>
              <a:ext uri="{FF2B5EF4-FFF2-40B4-BE49-F238E27FC236}">
                <a16:creationId xmlns:a16="http://schemas.microsoft.com/office/drawing/2014/main" id="{4675FB36-EF68-183A-B39C-D3AE19A9440F}"/>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467D42D0-3C64-363E-9ECD-5FF38E47FD01}"/>
              </a:ext>
            </a:extLst>
          </p:cNvPr>
          <p:cNvSpPr>
            <a:spLocks noGrp="1"/>
          </p:cNvSpPr>
          <p:nvPr>
            <p:ph type="sldNum" sz="quarter" idx="12"/>
          </p:nvPr>
        </p:nvSpPr>
        <p:spPr/>
        <p:txBody>
          <a:bodyPr/>
          <a:lstStyle/>
          <a:p>
            <a:pPr>
              <a:defRPr/>
            </a:pPr>
            <a:fld id="{4669315E-5A66-CF44-AE5D-C333B2F730C4}" type="slidenum">
              <a:rPr lang="en-GB" smtClean="0"/>
              <a:pPr>
                <a:defRPr/>
              </a:pPr>
              <a:t>2</a:t>
            </a:fld>
            <a:endParaRPr lang="en-GB" dirty="0"/>
          </a:p>
        </p:txBody>
      </p:sp>
    </p:spTree>
    <p:extLst>
      <p:ext uri="{BB962C8B-B14F-4D97-AF65-F5344CB8AC3E}">
        <p14:creationId xmlns:p14="http://schemas.microsoft.com/office/powerpoint/2010/main" val="865515329"/>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7B7D6FB-F57D-A1D4-A616-EA7838681EE7}"/>
              </a:ext>
            </a:extLst>
          </p:cNvPr>
          <p:cNvSpPr>
            <a:spLocks noGrp="1"/>
          </p:cNvSpPr>
          <p:nvPr>
            <p:ph idx="1"/>
          </p:nvPr>
        </p:nvSpPr>
        <p:spPr>
          <a:xfrm>
            <a:off x="772997" y="1916832"/>
            <a:ext cx="11029519" cy="3888432"/>
          </a:xfrm>
        </p:spPr>
        <p:txBody>
          <a:bodyPr/>
          <a:lstStyle/>
          <a:p>
            <a:r>
              <a:rPr lang="fi-FI" dirty="0"/>
              <a:t>Suomen kieli on köyhä</a:t>
            </a:r>
          </a:p>
          <a:p>
            <a:r>
              <a:rPr lang="fi-FI" dirty="0"/>
              <a:t>Terveydenhuollossa ja terveystaloustieteessä vaikuttavuus = effectiveness = tapahtuman aiheuttama tilamuutos potilaassa</a:t>
            </a:r>
          </a:p>
          <a:p>
            <a:r>
              <a:rPr lang="fi-FI" dirty="0"/>
              <a:t>Tieteen ja tutkimuksen yhteydessä vaikuttavuus on ehkä mieluummin </a:t>
            </a:r>
            <a:r>
              <a:rPr lang="fi-FI" b="1" dirty="0" err="1"/>
              <a:t>impact</a:t>
            </a:r>
            <a:endParaRPr lang="fi-FI" b="1" dirty="0"/>
          </a:p>
          <a:p>
            <a:r>
              <a:rPr lang="fi-FI" dirty="0"/>
              <a:t>Suomen akatemia:</a:t>
            </a:r>
          </a:p>
          <a:p>
            <a:pPr lvl="1"/>
            <a:r>
              <a:rPr lang="en-US" b="0" i="0" dirty="0">
                <a:solidFill>
                  <a:srgbClr val="1D1D1D"/>
                </a:solidFill>
                <a:effectLst/>
                <a:latin typeface="Source Sans 3"/>
              </a:rPr>
              <a:t>The effects and impact of research refer to the ways in which </a:t>
            </a:r>
            <a:r>
              <a:rPr lang="en-US" b="1" i="0" dirty="0">
                <a:solidFill>
                  <a:srgbClr val="1D1D1D"/>
                </a:solidFill>
                <a:effectLst/>
                <a:latin typeface="Source Sans 3"/>
              </a:rPr>
              <a:t>research influences a wide variety of phenomena and trends in society</a:t>
            </a:r>
            <a:r>
              <a:rPr lang="en-US" b="0" i="0" dirty="0">
                <a:solidFill>
                  <a:srgbClr val="1D1D1D"/>
                </a:solidFill>
                <a:effectLst/>
                <a:latin typeface="Source Sans 3"/>
              </a:rPr>
              <a:t>. The effects and impact emerge </a:t>
            </a:r>
            <a:r>
              <a:rPr lang="en-US" b="1" i="0" dirty="0">
                <a:solidFill>
                  <a:srgbClr val="1D1D1D"/>
                </a:solidFill>
                <a:effectLst/>
                <a:latin typeface="Source Sans 3"/>
              </a:rPr>
              <a:t>as a result of the combined effect of research findings and other factors and generally manifest over the long term</a:t>
            </a:r>
            <a:r>
              <a:rPr lang="en-US" b="0" i="0" dirty="0">
                <a:solidFill>
                  <a:srgbClr val="1D1D1D"/>
                </a:solidFill>
                <a:effectLst/>
                <a:latin typeface="Source Sans 3"/>
              </a:rPr>
              <a:t>. This is a complex process.</a:t>
            </a:r>
          </a:p>
          <a:p>
            <a:pPr lvl="1"/>
            <a:r>
              <a:rPr lang="fi-FI" b="0" i="1" dirty="0">
                <a:solidFill>
                  <a:srgbClr val="1D1D1D"/>
                </a:solidFill>
                <a:effectLst/>
                <a:latin typeface="Source Sans 3"/>
              </a:rPr>
              <a:t>Tutkimuksen vaikuttavuudella </a:t>
            </a:r>
            <a:r>
              <a:rPr lang="fi-FI" b="0" i="0" dirty="0">
                <a:solidFill>
                  <a:srgbClr val="1D1D1D"/>
                </a:solidFill>
                <a:effectLst/>
                <a:latin typeface="Source Sans 3"/>
              </a:rPr>
              <a:t>tarkoitetaan tutkimuksen myötävaikutuksia erilaisiin yhteiskunnassa ilmeneviin asioihin ja kehityskulkuihin. Vaikuttavuus syntyy tutkimustiedon ja muiden tekijöiden yhteisvaikutuksesta ja usein pidemmän ajan kuluessa. Se on lähtökohtaisesti monimuotoinen ilmiö.</a:t>
            </a:r>
            <a:endParaRPr lang="en-US" b="0" i="0" dirty="0">
              <a:solidFill>
                <a:srgbClr val="1D1D1D"/>
              </a:solidFill>
              <a:effectLst/>
              <a:latin typeface="Source Sans 3"/>
            </a:endParaRPr>
          </a:p>
          <a:p>
            <a:pPr lvl="1"/>
            <a:endParaRPr lang="fi-FI" dirty="0"/>
          </a:p>
        </p:txBody>
      </p:sp>
      <p:sp>
        <p:nvSpPr>
          <p:cNvPr id="4" name="Date Placeholder 3">
            <a:extLst>
              <a:ext uri="{FF2B5EF4-FFF2-40B4-BE49-F238E27FC236}">
                <a16:creationId xmlns:a16="http://schemas.microsoft.com/office/drawing/2014/main" id="{6C60CC8B-432E-1C90-DD13-2A3288ED6217}"/>
              </a:ext>
            </a:extLst>
          </p:cNvPr>
          <p:cNvSpPr>
            <a:spLocks noGrp="1"/>
          </p:cNvSpPr>
          <p:nvPr>
            <p:ph type="dt" sz="half" idx="10"/>
          </p:nvPr>
        </p:nvSpPr>
        <p:spPr/>
        <p:txBody>
          <a:bodyPr/>
          <a:lstStyle/>
          <a:p>
            <a:pPr>
              <a:defRPr/>
            </a:pPr>
            <a:fld id="{8FC139DF-555F-4884-A52D-5104D268AD44}" type="datetime1">
              <a:rPr lang="en-GB" smtClean="0"/>
              <a:t>22/08/2025</a:t>
            </a:fld>
            <a:endParaRPr lang="fi-FI" dirty="0"/>
          </a:p>
        </p:txBody>
      </p:sp>
      <p:sp>
        <p:nvSpPr>
          <p:cNvPr id="6" name="Slide Number Placeholder 5">
            <a:extLst>
              <a:ext uri="{FF2B5EF4-FFF2-40B4-BE49-F238E27FC236}">
                <a16:creationId xmlns:a16="http://schemas.microsoft.com/office/drawing/2014/main" id="{C3FC9ACB-14CC-1C24-601C-9A3441729D36}"/>
              </a:ext>
            </a:extLst>
          </p:cNvPr>
          <p:cNvSpPr>
            <a:spLocks noGrp="1"/>
          </p:cNvSpPr>
          <p:nvPr>
            <p:ph type="sldNum" sz="quarter" idx="12"/>
          </p:nvPr>
        </p:nvSpPr>
        <p:spPr/>
        <p:txBody>
          <a:bodyPr/>
          <a:lstStyle/>
          <a:p>
            <a:pPr>
              <a:defRPr/>
            </a:pPr>
            <a:fld id="{4669315E-5A66-CF44-AE5D-C333B2F730C4}" type="slidenum">
              <a:rPr lang="en-GB" smtClean="0"/>
              <a:pPr>
                <a:defRPr/>
              </a:pPr>
              <a:t>3</a:t>
            </a:fld>
            <a:endParaRPr lang="en-GB" dirty="0"/>
          </a:p>
        </p:txBody>
      </p:sp>
      <p:sp>
        <p:nvSpPr>
          <p:cNvPr id="7" name="Title 6">
            <a:extLst>
              <a:ext uri="{FF2B5EF4-FFF2-40B4-BE49-F238E27FC236}">
                <a16:creationId xmlns:a16="http://schemas.microsoft.com/office/drawing/2014/main" id="{7D889247-FCA2-ACD1-FE32-FC8015556052}"/>
              </a:ext>
            </a:extLst>
          </p:cNvPr>
          <p:cNvSpPr>
            <a:spLocks noGrp="1"/>
          </p:cNvSpPr>
          <p:nvPr>
            <p:ph type="title"/>
          </p:nvPr>
        </p:nvSpPr>
        <p:spPr/>
        <p:txBody>
          <a:bodyPr/>
          <a:lstStyle/>
          <a:p>
            <a:r>
              <a:rPr lang="fi-FI" dirty="0"/>
              <a:t>Termi vaikuttavuus</a:t>
            </a:r>
          </a:p>
        </p:txBody>
      </p:sp>
    </p:spTree>
    <p:extLst>
      <p:ext uri="{BB962C8B-B14F-4D97-AF65-F5344CB8AC3E}">
        <p14:creationId xmlns:p14="http://schemas.microsoft.com/office/powerpoint/2010/main" val="2250484533"/>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AE76FD5-2842-DB8C-0A60-A15CD42B397A}"/>
              </a:ext>
            </a:extLst>
          </p:cNvPr>
          <p:cNvSpPr>
            <a:spLocks noGrp="1"/>
          </p:cNvSpPr>
          <p:nvPr>
            <p:ph idx="1"/>
          </p:nvPr>
        </p:nvSpPr>
        <p:spPr>
          <a:xfrm>
            <a:off x="772997" y="2204865"/>
            <a:ext cx="4458907" cy="3888432"/>
          </a:xfrm>
        </p:spPr>
        <p:txBody>
          <a:bodyPr/>
          <a:lstStyle/>
          <a:p>
            <a:r>
              <a:rPr lang="fi-FI" dirty="0"/>
              <a:t>Suorina vaikutuksina pyrittäneen tiedon ja viisauden  lisäämiseen, mutta se lienee vain osa vaikuttavuutta?</a:t>
            </a:r>
          </a:p>
          <a:p>
            <a:pPr lvl="1"/>
            <a:r>
              <a:rPr lang="fi-FI" dirty="0"/>
              <a:t>Viisauden pitää kai vielä muuttua päätöksiksi tai toimenpiteiksi?</a:t>
            </a:r>
          </a:p>
        </p:txBody>
      </p:sp>
      <p:sp>
        <p:nvSpPr>
          <p:cNvPr id="3" name="Date Placeholder 2">
            <a:extLst>
              <a:ext uri="{FF2B5EF4-FFF2-40B4-BE49-F238E27FC236}">
                <a16:creationId xmlns:a16="http://schemas.microsoft.com/office/drawing/2014/main" id="{88B373C4-D56B-0951-3691-F20DB5260B92}"/>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391D5CDD-88DA-197C-597A-FB2082001D7E}"/>
              </a:ext>
            </a:extLst>
          </p:cNvPr>
          <p:cNvSpPr>
            <a:spLocks noGrp="1"/>
          </p:cNvSpPr>
          <p:nvPr>
            <p:ph type="sldNum" sz="quarter" idx="12"/>
          </p:nvPr>
        </p:nvSpPr>
        <p:spPr/>
        <p:txBody>
          <a:bodyPr/>
          <a:lstStyle/>
          <a:p>
            <a:pPr>
              <a:defRPr/>
            </a:pPr>
            <a:fld id="{4669315E-5A66-CF44-AE5D-C333B2F730C4}" type="slidenum">
              <a:rPr lang="en-GB" smtClean="0"/>
              <a:pPr>
                <a:defRPr/>
              </a:pPr>
              <a:t>4</a:t>
            </a:fld>
            <a:endParaRPr lang="en-GB" dirty="0"/>
          </a:p>
        </p:txBody>
      </p:sp>
      <p:sp>
        <p:nvSpPr>
          <p:cNvPr id="6" name="Title 5">
            <a:extLst>
              <a:ext uri="{FF2B5EF4-FFF2-40B4-BE49-F238E27FC236}">
                <a16:creationId xmlns:a16="http://schemas.microsoft.com/office/drawing/2014/main" id="{4EE0B259-E886-32AA-9517-870ABCB194F3}"/>
              </a:ext>
            </a:extLst>
          </p:cNvPr>
          <p:cNvSpPr>
            <a:spLocks noGrp="1"/>
          </p:cNvSpPr>
          <p:nvPr>
            <p:ph type="title"/>
          </p:nvPr>
        </p:nvSpPr>
        <p:spPr/>
        <p:txBody>
          <a:bodyPr/>
          <a:lstStyle/>
          <a:p>
            <a:r>
              <a:rPr lang="fi-FI" dirty="0"/>
              <a:t>Tieteen tavoitteena on lähestyä totuutta</a:t>
            </a:r>
          </a:p>
        </p:txBody>
      </p:sp>
      <p:pic>
        <p:nvPicPr>
          <p:cNvPr id="8" name="Picture 7">
            <a:extLst>
              <a:ext uri="{FF2B5EF4-FFF2-40B4-BE49-F238E27FC236}">
                <a16:creationId xmlns:a16="http://schemas.microsoft.com/office/drawing/2014/main" id="{27620B3E-CABD-71F0-0404-0AC2392F9F18}"/>
              </a:ext>
            </a:extLst>
          </p:cNvPr>
          <p:cNvPicPr>
            <a:picLocks noChangeAspect="1"/>
          </p:cNvPicPr>
          <p:nvPr/>
        </p:nvPicPr>
        <p:blipFill rotWithShape="1">
          <a:blip r:embed="rId3"/>
          <a:srcRect l="39369" t="34250" r="22241" b="23750"/>
          <a:stretch/>
        </p:blipFill>
        <p:spPr>
          <a:xfrm>
            <a:off x="5087888" y="1979419"/>
            <a:ext cx="6840760" cy="4209698"/>
          </a:xfrm>
          <a:prstGeom prst="rect">
            <a:avLst/>
          </a:prstGeom>
        </p:spPr>
      </p:pic>
    </p:spTree>
    <p:extLst>
      <p:ext uri="{BB962C8B-B14F-4D97-AF65-F5344CB8AC3E}">
        <p14:creationId xmlns:p14="http://schemas.microsoft.com/office/powerpoint/2010/main" val="390445174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6B101E-E852-2FD6-F0B4-66838CE61D0F}"/>
              </a:ext>
            </a:extLst>
          </p:cNvPr>
          <p:cNvSpPr>
            <a:spLocks noGrp="1"/>
          </p:cNvSpPr>
          <p:nvPr>
            <p:ph idx="1"/>
          </p:nvPr>
        </p:nvSpPr>
        <p:spPr/>
        <p:txBody>
          <a:bodyPr/>
          <a:lstStyle/>
          <a:p>
            <a:r>
              <a:rPr lang="fi-FI" dirty="0"/>
              <a:t>Joskus panostettu enemmän</a:t>
            </a:r>
          </a:p>
          <a:p>
            <a:pPr lvl="1"/>
            <a:r>
              <a:rPr lang="fi-FI" dirty="0"/>
              <a:t>Tutkimukseen (1800-luku)</a:t>
            </a:r>
          </a:p>
          <a:p>
            <a:pPr lvl="1"/>
            <a:r>
              <a:rPr lang="fi-FI" dirty="0"/>
              <a:t>Koulutukseen ja sivistykseen (1900-luvun alkupuoli)</a:t>
            </a:r>
          </a:p>
          <a:p>
            <a:pPr lvl="1"/>
            <a:r>
              <a:rPr lang="fi-FI" dirty="0"/>
              <a:t>Yhteiskunnalliseen vaikuttavuuteen (1990-luku)</a:t>
            </a:r>
          </a:p>
          <a:p>
            <a:pPr lvl="1"/>
            <a:endParaRPr lang="fi-FI" dirty="0"/>
          </a:p>
        </p:txBody>
      </p:sp>
      <p:sp>
        <p:nvSpPr>
          <p:cNvPr id="3" name="Date Placeholder 2">
            <a:extLst>
              <a:ext uri="{FF2B5EF4-FFF2-40B4-BE49-F238E27FC236}">
                <a16:creationId xmlns:a16="http://schemas.microsoft.com/office/drawing/2014/main" id="{D2180D27-7E52-16E9-3493-88BE9C570F50}"/>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9CB2DB0A-C86D-639C-82F5-C86E6E6E988C}"/>
              </a:ext>
            </a:extLst>
          </p:cNvPr>
          <p:cNvSpPr>
            <a:spLocks noGrp="1"/>
          </p:cNvSpPr>
          <p:nvPr>
            <p:ph type="sldNum" sz="quarter" idx="12"/>
          </p:nvPr>
        </p:nvSpPr>
        <p:spPr/>
        <p:txBody>
          <a:bodyPr/>
          <a:lstStyle/>
          <a:p>
            <a:pPr>
              <a:defRPr/>
            </a:pPr>
            <a:fld id="{4669315E-5A66-CF44-AE5D-C333B2F730C4}" type="slidenum">
              <a:rPr lang="en-GB" smtClean="0"/>
              <a:pPr>
                <a:defRPr/>
              </a:pPr>
              <a:t>5</a:t>
            </a:fld>
            <a:endParaRPr lang="en-GB" dirty="0"/>
          </a:p>
        </p:txBody>
      </p:sp>
      <p:sp>
        <p:nvSpPr>
          <p:cNvPr id="6" name="Title 5">
            <a:extLst>
              <a:ext uri="{FF2B5EF4-FFF2-40B4-BE49-F238E27FC236}">
                <a16:creationId xmlns:a16="http://schemas.microsoft.com/office/drawing/2014/main" id="{18E1FC95-8422-98C1-5605-CCDB2C2D240D}"/>
              </a:ext>
            </a:extLst>
          </p:cNvPr>
          <p:cNvSpPr>
            <a:spLocks noGrp="1"/>
          </p:cNvSpPr>
          <p:nvPr>
            <p:ph type="title"/>
          </p:nvPr>
        </p:nvSpPr>
        <p:spPr/>
        <p:txBody>
          <a:bodyPr/>
          <a:lstStyle/>
          <a:p>
            <a:r>
              <a:rPr lang="fi-FI" dirty="0"/>
              <a:t>On hyvä huomata, että tieteen/tutkimuksen painopisteet saattavat vaihdella ajassa</a:t>
            </a:r>
          </a:p>
        </p:txBody>
      </p:sp>
      <p:sp>
        <p:nvSpPr>
          <p:cNvPr id="8" name="TextBox 7">
            <a:extLst>
              <a:ext uri="{FF2B5EF4-FFF2-40B4-BE49-F238E27FC236}">
                <a16:creationId xmlns:a16="http://schemas.microsoft.com/office/drawing/2014/main" id="{417FD921-6B9F-EDDF-7E7E-162E1060961B}"/>
              </a:ext>
            </a:extLst>
          </p:cNvPr>
          <p:cNvSpPr txBox="1"/>
          <p:nvPr/>
        </p:nvSpPr>
        <p:spPr bwMode="auto">
          <a:xfrm>
            <a:off x="5159896" y="6474822"/>
            <a:ext cx="60960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spAutoFit/>
          </a:bodyPr>
          <a:lstStyle/>
          <a:p>
            <a:r>
              <a:rPr lang="fi-FI" sz="1400" dirty="0"/>
              <a:t>Tiitta A. Miten vaikuttavuus tuli tiedepolitiikkaan</a:t>
            </a:r>
          </a:p>
        </p:txBody>
      </p:sp>
    </p:spTree>
    <p:extLst>
      <p:ext uri="{BB962C8B-B14F-4D97-AF65-F5344CB8AC3E}">
        <p14:creationId xmlns:p14="http://schemas.microsoft.com/office/powerpoint/2010/main" val="68152471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98E9A3-8217-8F1F-E30D-8B4E952C0D3B}"/>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A9840462-1395-95C3-2F8D-E2CDC032128E}"/>
              </a:ext>
            </a:extLst>
          </p:cNvPr>
          <p:cNvSpPr>
            <a:spLocks noGrp="1"/>
          </p:cNvSpPr>
          <p:nvPr>
            <p:ph type="sldNum" sz="quarter" idx="12"/>
          </p:nvPr>
        </p:nvSpPr>
        <p:spPr/>
        <p:txBody>
          <a:bodyPr/>
          <a:lstStyle/>
          <a:p>
            <a:pPr>
              <a:defRPr/>
            </a:pPr>
            <a:fld id="{4669315E-5A66-CF44-AE5D-C333B2F730C4}" type="slidenum">
              <a:rPr lang="en-GB" smtClean="0"/>
              <a:pPr>
                <a:defRPr/>
              </a:pPr>
              <a:t>6</a:t>
            </a:fld>
            <a:endParaRPr lang="en-GB" dirty="0"/>
          </a:p>
        </p:txBody>
      </p:sp>
      <p:sp>
        <p:nvSpPr>
          <p:cNvPr id="6" name="Title 5">
            <a:extLst>
              <a:ext uri="{FF2B5EF4-FFF2-40B4-BE49-F238E27FC236}">
                <a16:creationId xmlns:a16="http://schemas.microsoft.com/office/drawing/2014/main" id="{5CF2CC3F-1024-830E-5EE5-32358FA5DA7A}"/>
              </a:ext>
            </a:extLst>
          </p:cNvPr>
          <p:cNvSpPr>
            <a:spLocks noGrp="1"/>
          </p:cNvSpPr>
          <p:nvPr>
            <p:ph type="title"/>
          </p:nvPr>
        </p:nvSpPr>
        <p:spPr/>
        <p:txBody>
          <a:bodyPr/>
          <a:lstStyle/>
          <a:p>
            <a:r>
              <a:rPr lang="fi-FI" sz="3200" dirty="0"/>
              <a:t>Kirjallisuudesta tai akateemisilta toimijoilta löytyy Erilaisia määritelmiä/kuvauksia…</a:t>
            </a:r>
          </a:p>
        </p:txBody>
      </p:sp>
      <p:sp>
        <p:nvSpPr>
          <p:cNvPr id="7" name="Rectangle 1">
            <a:extLst>
              <a:ext uri="{FF2B5EF4-FFF2-40B4-BE49-F238E27FC236}">
                <a16:creationId xmlns:a16="http://schemas.microsoft.com/office/drawing/2014/main" id="{90338547-51B8-684A-0CDF-97E881D88CC1}"/>
              </a:ext>
            </a:extLst>
          </p:cNvPr>
          <p:cNvSpPr>
            <a:spLocks noGrp="1" noChangeArrowheads="1"/>
          </p:cNvSpPr>
          <p:nvPr>
            <p:ph idx="1"/>
          </p:nvPr>
        </p:nvSpPr>
        <p:spPr bwMode="auto">
          <a:xfrm>
            <a:off x="335361" y="2302422"/>
            <a:ext cx="11593288"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200" b="0" i="0" u="none" strike="noStrike" cap="none" normalizeH="0" baseline="0" dirty="0" err="1">
                <a:ln>
                  <a:noFill/>
                </a:ln>
                <a:solidFill>
                  <a:schemeClr val="tx1"/>
                </a:solidFill>
                <a:effectLst/>
                <a:latin typeface="Arial" panose="020B0604020202020204" pitchFamily="34" charset="0"/>
              </a:rPr>
              <a:t>Impact</a:t>
            </a:r>
            <a:r>
              <a:rPr kumimoji="0" lang="fi-FI" altLang="fi-FI" sz="1200" b="0" i="0" u="none" strike="noStrike" cap="none" normalizeH="0" baseline="0" dirty="0">
                <a:ln>
                  <a:noFill/>
                </a:ln>
                <a:solidFill>
                  <a:schemeClr val="tx1"/>
                </a:solidFill>
                <a:effectLst/>
                <a:latin typeface="Arial" panose="020B0604020202020204" pitchFamily="34" charset="0"/>
              </a:rPr>
              <a:t> is </a:t>
            </a:r>
            <a:r>
              <a:rPr kumimoji="0" lang="fi-FI" altLang="fi-FI" sz="1200" b="0" i="0" u="none" strike="noStrike" cap="none" normalizeH="0" baseline="0" dirty="0" err="1">
                <a:ln>
                  <a:noFill/>
                </a:ln>
                <a:solidFill>
                  <a:schemeClr val="tx1"/>
                </a:solidFill>
                <a:effectLst/>
                <a:latin typeface="Arial" panose="020B0604020202020204" pitchFamily="34" charset="0"/>
              </a:rPr>
              <a:t>the</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effect</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research</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has</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beyond</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academia</a:t>
            </a:r>
            <a:r>
              <a:rPr kumimoji="0" lang="fi-FI" altLang="fi-FI" sz="1200" b="0" i="0" u="none" strike="noStrike" cap="none" normalizeH="0" baseline="0" dirty="0">
                <a:ln>
                  <a:noFill/>
                </a:ln>
                <a:solidFill>
                  <a:schemeClr val="tx1"/>
                </a:solidFill>
                <a:effectLst/>
                <a:latin typeface="Arial" panose="020B0604020202020204" pitchFamily="34" charset="0"/>
              </a:rPr>
              <a:t> and </a:t>
            </a:r>
            <a:r>
              <a:rPr kumimoji="0" lang="fi-FI" altLang="fi-FI" sz="1200" b="0" i="0" u="none" strike="noStrike" cap="none" normalizeH="0" baseline="0" dirty="0" err="1">
                <a:ln>
                  <a:noFill/>
                </a:ln>
                <a:solidFill>
                  <a:schemeClr val="tx1"/>
                </a:solidFill>
                <a:effectLst/>
                <a:latin typeface="Arial" panose="020B0604020202020204" pitchFamily="34" charset="0"/>
              </a:rPr>
              <a:t>consists</a:t>
            </a:r>
            <a:r>
              <a:rPr kumimoji="0" lang="fi-FI" altLang="fi-FI" sz="1200" b="0" i="0"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1" u="none" strike="noStrike" cap="none" normalizeH="0" baseline="0" dirty="0" err="1">
                <a:ln>
                  <a:noFill/>
                </a:ln>
                <a:solidFill>
                  <a:schemeClr val="tx1"/>
                </a:solidFill>
                <a:effectLst/>
                <a:latin typeface="Arial" panose="020B0604020202020204" pitchFamily="34" charset="0"/>
              </a:rPr>
              <a:t>benefits</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on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mor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rea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conom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ociety</a:t>
            </a:r>
            <a:r>
              <a:rPr kumimoji="0" lang="fi-FI" altLang="fi-FI" sz="1200" b="0" i="1" u="none" strike="noStrike" cap="none" normalizeH="0" baseline="0" dirty="0">
                <a:ln>
                  <a:noFill/>
                </a:ln>
                <a:solidFill>
                  <a:schemeClr val="tx1"/>
                </a:solidFill>
                <a:effectLst/>
                <a:latin typeface="Arial" panose="020B0604020202020204" pitchFamily="34" charset="0"/>
              </a:rPr>
              <a:t>, culture, </a:t>
            </a:r>
            <a:r>
              <a:rPr kumimoji="0" lang="fi-FI" altLang="fi-FI" sz="1200" b="0" i="1" u="none" strike="noStrike" cap="none" normalizeH="0" baseline="0" dirty="0" err="1">
                <a:ln>
                  <a:noFill/>
                </a:ln>
                <a:solidFill>
                  <a:schemeClr val="tx1"/>
                </a:solidFill>
                <a:effectLst/>
                <a:latin typeface="Arial" panose="020B0604020202020204" pitchFamily="34" charset="0"/>
              </a:rPr>
              <a:t>publ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olicy</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servic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roductio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nvironmen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ternation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developmen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quality</a:t>
            </a:r>
            <a:r>
              <a:rPr kumimoji="0" lang="fi-FI" altLang="fi-FI" sz="1200" b="0" i="1" u="none" strike="noStrike" cap="none" normalizeH="0" baseline="0" dirty="0">
                <a:ln>
                  <a:noFill/>
                </a:ln>
                <a:solidFill>
                  <a:schemeClr val="tx1"/>
                </a:solidFill>
                <a:effectLst/>
                <a:latin typeface="Arial" panose="020B0604020202020204" pitchFamily="34" charset="0"/>
              </a:rPr>
              <a:t> of life, </a:t>
            </a:r>
            <a:r>
              <a:rPr kumimoji="0" lang="fi-FI" altLang="fi-FI" sz="1200" b="0" i="1" u="none" strike="noStrike" cap="none" normalizeH="0" baseline="0" dirty="0" err="1">
                <a:ln>
                  <a:noFill/>
                </a:ln>
                <a:solidFill>
                  <a:schemeClr val="tx1"/>
                </a:solidFill>
                <a:effectLst/>
                <a:latin typeface="Arial" panose="020B0604020202020204" pitchFamily="34" charset="0"/>
              </a:rPr>
              <a:t>whethe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local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gional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national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ternationally</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paragraph</a:t>
            </a:r>
            <a:r>
              <a:rPr kumimoji="0" lang="fi-FI" altLang="fi-FI" sz="1200" b="0" i="0" u="none" strike="noStrike" cap="none" normalizeH="0" baseline="0" dirty="0">
                <a:ln>
                  <a:noFill/>
                </a:ln>
                <a:solidFill>
                  <a:schemeClr val="tx1"/>
                </a:solidFill>
                <a:effectLst/>
                <a:latin typeface="Arial" panose="020B0604020202020204" pitchFamily="34" charset="0"/>
              </a:rPr>
              <a:t> 62) and as “</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1" u="none" strike="noStrike" cap="none" normalizeH="0" baseline="0" dirty="0" err="1">
                <a:ln>
                  <a:noFill/>
                </a:ln>
                <a:solidFill>
                  <a:schemeClr val="tx1"/>
                </a:solidFill>
                <a:effectLst/>
                <a:latin typeface="Arial" panose="020B0604020202020204" pitchFamily="34" charset="0"/>
              </a:rPr>
              <a:t>manifested</a:t>
            </a:r>
            <a:r>
              <a:rPr kumimoji="0" lang="fi-FI" altLang="fi-FI" sz="1200" b="0" i="1" u="none" strike="noStrike" cap="none" normalizeH="0" baseline="0" dirty="0">
                <a:ln>
                  <a:noFill/>
                </a:ln>
                <a:solidFill>
                  <a:schemeClr val="tx1"/>
                </a:solidFill>
                <a:effectLst/>
                <a:latin typeface="Arial" panose="020B0604020202020204" pitchFamily="34" charset="0"/>
              </a:rPr>
              <a:t> in a </a:t>
            </a:r>
            <a:r>
              <a:rPr kumimoji="0" lang="fi-FI" altLang="fi-FI" sz="1200" b="0" i="1" u="none" strike="noStrike" cap="none" normalizeH="0" baseline="0" dirty="0" err="1">
                <a:ln>
                  <a:noFill/>
                </a:ln>
                <a:solidFill>
                  <a:schemeClr val="tx1"/>
                </a:solidFill>
                <a:effectLst/>
                <a:latin typeface="Arial" panose="020B0604020202020204" pitchFamily="34" charset="0"/>
              </a:rPr>
              <a:t>wid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variety</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way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clud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u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no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limited</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man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ype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beneficiar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dividual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ganisation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ommuniti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gions</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othe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ntiti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acts</a:t>
            </a:r>
            <a:r>
              <a:rPr kumimoji="0" lang="fi-FI" altLang="fi-FI" sz="1200" b="0" i="1" u="none" strike="noStrike" cap="none" normalizeH="0" baseline="0" dirty="0">
                <a:ln>
                  <a:noFill/>
                </a:ln>
                <a:solidFill>
                  <a:schemeClr val="tx1"/>
                </a:solidFill>
                <a:effectLst/>
                <a:latin typeface="Arial" panose="020B0604020202020204" pitchFamily="34" charset="0"/>
              </a:rPr>
              <a:t> on products, </a:t>
            </a:r>
            <a:r>
              <a:rPr kumimoji="0" lang="fi-FI" altLang="fi-FI" sz="1200" b="0" i="1" u="none" strike="noStrike" cap="none" normalizeH="0" baseline="0" dirty="0" err="1">
                <a:ln>
                  <a:noFill/>
                </a:ln>
                <a:solidFill>
                  <a:schemeClr val="tx1"/>
                </a:solidFill>
                <a:effectLst/>
                <a:latin typeface="Arial" panose="020B0604020202020204" pitchFamily="34" charset="0"/>
              </a:rPr>
              <a:t>process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haviour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olici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ractices</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avoidance</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harm</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waste</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resources</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a:ln>
                  <a:noFill/>
                </a:ln>
                <a:solidFill>
                  <a:schemeClr val="tx1"/>
                </a:solidFill>
                <a:effectLst/>
                <a:latin typeface="Arial" panose="020B0604020202020204" pitchFamily="34" charset="0"/>
              </a:rPr>
              <a:t>UK 2014 </a:t>
            </a:r>
            <a:r>
              <a:rPr kumimoji="0" lang="fi-FI" altLang="fi-FI" sz="1200" b="1" i="0" u="none" strike="noStrike" cap="none" normalizeH="0" baseline="0" dirty="0" err="1">
                <a:ln>
                  <a:noFill/>
                </a:ln>
                <a:solidFill>
                  <a:schemeClr val="tx1"/>
                </a:solidFill>
                <a:effectLst/>
                <a:latin typeface="Arial" panose="020B0604020202020204" pitchFamily="34" charset="0"/>
              </a:rPr>
              <a:t>Research</a:t>
            </a:r>
            <a:r>
              <a:rPr kumimoji="0" lang="fi-FI" altLang="fi-FI" sz="1200" b="1"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err="1">
                <a:ln>
                  <a:noFill/>
                </a:ln>
                <a:solidFill>
                  <a:schemeClr val="tx1"/>
                </a:solidFill>
                <a:effectLst/>
                <a:latin typeface="Arial" panose="020B0604020202020204" pitchFamily="34" charset="0"/>
              </a:rPr>
              <a:t>Excellence</a:t>
            </a:r>
            <a:r>
              <a:rPr kumimoji="0" lang="fi-FI" altLang="fi-FI" sz="1200" b="1" i="0" u="none" strike="noStrike" cap="none" normalizeH="0" baseline="0" dirty="0">
                <a:ln>
                  <a:noFill/>
                </a:ln>
                <a:solidFill>
                  <a:schemeClr val="tx1"/>
                </a:solidFill>
                <a:effectLst/>
                <a:latin typeface="Arial" panose="020B0604020202020204" pitchFamily="34" charset="0"/>
              </a:rPr>
              <a:t> Framework</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200" b="0" i="0" u="none" strike="noStrike" cap="none" normalizeH="0" baseline="0" dirty="0">
                <a:ln>
                  <a:noFill/>
                </a:ln>
                <a:solidFill>
                  <a:schemeClr val="tx1"/>
                </a:solidFill>
                <a:effectLst/>
                <a:latin typeface="Arial" panose="020B0604020202020204" pitchFamily="34" charset="0"/>
              </a:rPr>
              <a:t>“</a:t>
            </a:r>
            <a:r>
              <a:rPr kumimoji="0" lang="fi-FI" altLang="fi-FI" sz="1200" b="0" i="1" u="none" strike="noStrike" cap="none" normalizeH="0" baseline="0" dirty="0">
                <a:ln>
                  <a:noFill/>
                </a:ln>
                <a:solidFill>
                  <a:schemeClr val="tx1"/>
                </a:solidFill>
                <a:effectLst/>
                <a:latin typeface="Arial" panose="020B0604020202020204" pitchFamily="34" charset="0"/>
              </a:rPr>
              <a:t>‘Health </a:t>
            </a:r>
            <a:r>
              <a:rPr kumimoji="0" lang="fi-FI" altLang="fi-FI" sz="1200" b="0" i="1" u="none" strike="noStrike" cap="none" normalizeH="0" baseline="0" dirty="0" err="1">
                <a:ln>
                  <a:noFill/>
                </a:ln>
                <a:solidFill>
                  <a:schemeClr val="tx1"/>
                </a:solidFill>
                <a:effectLst/>
                <a:latin typeface="Arial" panose="020B0604020202020204" pitchFamily="34" charset="0"/>
              </a:rPr>
              <a:t>impac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a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defined</a:t>
            </a:r>
            <a:r>
              <a:rPr kumimoji="0" lang="fi-FI" altLang="fi-FI" sz="1200" b="0" i="1" u="none" strike="noStrike" cap="none" normalizeH="0" baseline="0" dirty="0">
                <a:ln>
                  <a:noFill/>
                </a:ln>
                <a:solidFill>
                  <a:schemeClr val="tx1"/>
                </a:solidFill>
                <a:effectLst/>
                <a:latin typeface="Arial" panose="020B0604020202020204" pitchFamily="34" charset="0"/>
              </a:rPr>
              <a:t> as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in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health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unctioning</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individual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hysic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sychological</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soci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spect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thei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ervic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roade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determinant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oci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ac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r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a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r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roade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a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imp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ose</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noted</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bove</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includ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work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ystem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thic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understanding</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tervention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opulatio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teraction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conom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ac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a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garded</a:t>
            </a:r>
            <a:r>
              <a:rPr kumimoji="0" lang="fi-FI" altLang="fi-FI" sz="1200" b="0" i="1" u="none" strike="noStrike" cap="none" normalizeH="0" baseline="0" dirty="0">
                <a:ln>
                  <a:noFill/>
                </a:ln>
                <a:solidFill>
                  <a:schemeClr val="tx1"/>
                </a:solidFill>
                <a:effectLst/>
                <a:latin typeface="Arial" panose="020B0604020202020204" pitchFamily="34" charset="0"/>
              </a:rPr>
              <a:t> as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nefi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rom</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ommercializatio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net </a:t>
            </a:r>
            <a:r>
              <a:rPr kumimoji="0" lang="fi-FI" altLang="fi-FI" sz="1200" b="0" i="1" u="none" strike="noStrike" cap="none" normalizeH="0" baseline="0" dirty="0" err="1">
                <a:ln>
                  <a:noFill/>
                </a:ln>
                <a:solidFill>
                  <a:schemeClr val="tx1"/>
                </a:solidFill>
                <a:effectLst/>
                <a:latin typeface="Arial" panose="020B0604020202020204" pitchFamily="34" charset="0"/>
              </a:rPr>
              <a:t>monetar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value</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improved</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nefi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rom</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erform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search</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a:ln>
                  <a:noFill/>
                </a:ln>
                <a:solidFill>
                  <a:schemeClr val="tx1"/>
                </a:solidFill>
                <a:effectLst/>
                <a:latin typeface="Arial" panose="020B0604020202020204" pitchFamily="34" charset="0"/>
              </a:rPr>
              <a:t>Canadian Academy of Health Scien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200" b="0" i="0" u="none" strike="noStrike" cap="none" normalizeH="0" baseline="0" dirty="0" err="1">
                <a:ln>
                  <a:noFill/>
                </a:ln>
                <a:solidFill>
                  <a:schemeClr val="tx1"/>
                </a:solidFill>
                <a:effectLst/>
                <a:latin typeface="Arial" panose="020B0604020202020204" pitchFamily="34" charset="0"/>
              </a:rPr>
              <a:t>Academic</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impact</a:t>
            </a:r>
            <a:r>
              <a:rPr kumimoji="0" lang="fi-FI" altLang="fi-FI" sz="1200" b="0" i="0" u="none" strike="noStrike" cap="none" normalizeH="0" baseline="0" dirty="0">
                <a:ln>
                  <a:noFill/>
                </a:ln>
                <a:solidFill>
                  <a:schemeClr val="tx1"/>
                </a:solidFill>
                <a:effectLst/>
                <a:latin typeface="Arial" panose="020B0604020202020204" pitchFamily="34" charset="0"/>
              </a:rPr>
              <a:t> is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demonstrabl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ontributio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a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xcellen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searc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makes</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academ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dvanc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cross</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withi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disciplin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clud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ignifican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dvances</a:t>
            </a:r>
            <a:r>
              <a:rPr kumimoji="0" lang="fi-FI" altLang="fi-FI" sz="1200" b="0" i="1" u="none" strike="noStrike" cap="none" normalizeH="0" baseline="0" dirty="0">
                <a:ln>
                  <a:noFill/>
                </a:ln>
                <a:solidFill>
                  <a:schemeClr val="tx1"/>
                </a:solidFill>
                <a:effectLst/>
                <a:latin typeface="Arial" panose="020B0604020202020204" pitchFamily="34" charset="0"/>
              </a:rPr>
              <a:t> in </a:t>
            </a:r>
            <a:r>
              <a:rPr kumimoji="0" lang="fi-FI" altLang="fi-FI" sz="1200" b="0" i="1" u="none" strike="noStrike" cap="none" normalizeH="0" baseline="0" dirty="0" err="1">
                <a:ln>
                  <a:noFill/>
                </a:ln>
                <a:solidFill>
                  <a:schemeClr val="tx1"/>
                </a:solidFill>
                <a:effectLst/>
                <a:latin typeface="Arial" panose="020B0604020202020204" pitchFamily="34" charset="0"/>
              </a:rPr>
              <a:t>understand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method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eory</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application</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Economic</a:t>
            </a:r>
            <a:r>
              <a:rPr kumimoji="0" lang="fi-FI" altLang="fi-FI" sz="1200" b="0" i="0" u="none" strike="noStrike" cap="none" normalizeH="0" baseline="0" dirty="0">
                <a:ln>
                  <a:noFill/>
                </a:ln>
                <a:solidFill>
                  <a:schemeClr val="tx1"/>
                </a:solidFill>
                <a:effectLst/>
                <a:latin typeface="Arial" panose="020B0604020202020204" pitchFamily="34" charset="0"/>
              </a:rPr>
              <a:t> and </a:t>
            </a:r>
            <a:r>
              <a:rPr kumimoji="0" lang="fi-FI" altLang="fi-FI" sz="1200" b="0" i="0" u="none" strike="noStrike" cap="none" normalizeH="0" baseline="0" dirty="0" err="1">
                <a:ln>
                  <a:noFill/>
                </a:ln>
                <a:solidFill>
                  <a:schemeClr val="tx1"/>
                </a:solidFill>
                <a:effectLst/>
                <a:latin typeface="Arial" panose="020B0604020202020204" pitchFamily="34" charset="0"/>
              </a:rPr>
              <a:t>societal</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0" u="none" strike="noStrike" cap="none" normalizeH="0" baseline="0" dirty="0" err="1">
                <a:ln>
                  <a:noFill/>
                </a:ln>
                <a:solidFill>
                  <a:schemeClr val="tx1"/>
                </a:solidFill>
                <a:effectLst/>
                <a:latin typeface="Arial" panose="020B0604020202020204" pitchFamily="34" charset="0"/>
              </a:rPr>
              <a:t>impact</a:t>
            </a:r>
            <a:r>
              <a:rPr kumimoji="0" lang="fi-FI" altLang="fi-FI" sz="1200" b="0" i="0" u="none" strike="noStrike" cap="none" normalizeH="0" baseline="0" dirty="0">
                <a:ln>
                  <a:noFill/>
                </a:ln>
                <a:solidFill>
                  <a:schemeClr val="tx1"/>
                </a:solidFill>
                <a:effectLst/>
                <a:latin typeface="Arial" panose="020B0604020202020204" pitchFamily="34" charset="0"/>
              </a:rPr>
              <a:t> is “</a:t>
            </a:r>
            <a:r>
              <a:rPr kumimoji="0" lang="fi-FI" altLang="fi-FI" sz="1200" b="0" i="1" u="none" strike="noStrike" cap="none" normalizeH="0" baseline="0" dirty="0" err="1">
                <a:ln>
                  <a:noFill/>
                </a:ln>
                <a:solidFill>
                  <a:schemeClr val="tx1"/>
                </a:solidFill>
                <a:effectLst/>
                <a:latin typeface="Arial" panose="020B0604020202020204" pitchFamily="34" charset="0"/>
              </a:rPr>
              <a:t>foster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glob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conom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erformance</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specifical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conom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ompetitivenes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UK</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creas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ffectivenes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publ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ervices</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policy</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enhanc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quality</a:t>
            </a:r>
            <a:r>
              <a:rPr kumimoji="0" lang="fi-FI" altLang="fi-FI" sz="1200" b="0" i="1" u="none" strike="noStrike" cap="none" normalizeH="0" baseline="0" dirty="0">
                <a:ln>
                  <a:noFill/>
                </a:ln>
                <a:solidFill>
                  <a:schemeClr val="tx1"/>
                </a:solidFill>
                <a:effectLst/>
                <a:latin typeface="Arial" panose="020B0604020202020204" pitchFamily="34" charset="0"/>
              </a:rPr>
              <a:t> of life, </a:t>
            </a:r>
            <a:r>
              <a:rPr kumimoji="0" lang="fi-FI" altLang="fi-FI" sz="1200" b="0" i="1" u="none" strike="noStrike" cap="none" normalizeH="0" baseline="0" dirty="0" err="1">
                <a:ln>
                  <a:noFill/>
                </a:ln>
                <a:solidFill>
                  <a:schemeClr val="tx1"/>
                </a:solidFill>
                <a:effectLst/>
                <a:latin typeface="Arial" panose="020B0604020202020204" pitchFamily="34" charset="0"/>
              </a:rPr>
              <a:t>health</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creative</a:t>
            </a:r>
            <a:r>
              <a:rPr kumimoji="0" lang="fi-FI" altLang="fi-FI" sz="1200" b="0" i="1" u="none" strike="noStrike" cap="none" normalizeH="0" baseline="0" dirty="0">
                <a:ln>
                  <a:noFill/>
                </a:ln>
                <a:solidFill>
                  <a:schemeClr val="tx1"/>
                </a:solidFill>
                <a:effectLst/>
                <a:latin typeface="Arial" panose="020B0604020202020204" pitchFamily="34" charset="0"/>
              </a:rPr>
              <a:t> output.</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err="1">
                <a:ln>
                  <a:noFill/>
                </a:ln>
                <a:solidFill>
                  <a:schemeClr val="tx1"/>
                </a:solidFill>
                <a:effectLst/>
                <a:latin typeface="Arial" panose="020B0604020202020204" pitchFamily="34" charset="0"/>
              </a:rPr>
              <a:t>Research</a:t>
            </a:r>
            <a:r>
              <a:rPr kumimoji="0" lang="fi-FI" altLang="fi-FI" sz="1200" b="1"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err="1">
                <a:ln>
                  <a:noFill/>
                </a:ln>
                <a:solidFill>
                  <a:schemeClr val="tx1"/>
                </a:solidFill>
                <a:effectLst/>
                <a:latin typeface="Arial" panose="020B0604020202020204" pitchFamily="34" charset="0"/>
              </a:rPr>
              <a:t>Councils</a:t>
            </a:r>
            <a:r>
              <a:rPr kumimoji="0" lang="fi-FI" altLang="fi-FI" sz="1200" b="1" i="0" u="none" strike="noStrike" cap="none" normalizeH="0" baseline="0" dirty="0">
                <a:ln>
                  <a:noFill/>
                </a:ln>
                <a:solidFill>
                  <a:schemeClr val="tx1"/>
                </a:solidFill>
                <a:effectLst/>
                <a:latin typeface="Arial" panose="020B0604020202020204" pitchFamily="34" charset="0"/>
              </a:rPr>
              <a:t> UK </a:t>
            </a:r>
            <a:r>
              <a:rPr kumimoji="0" lang="fi-FI" altLang="fi-FI" sz="1200" b="1" i="0" u="none" strike="noStrike" cap="none" normalizeH="0" baseline="0" dirty="0" err="1">
                <a:ln>
                  <a:noFill/>
                </a:ln>
                <a:solidFill>
                  <a:schemeClr val="tx1"/>
                </a:solidFill>
                <a:effectLst/>
                <a:latin typeface="Arial" panose="020B0604020202020204" pitchFamily="34" charset="0"/>
              </a:rPr>
              <a:t>Pathways</a:t>
            </a:r>
            <a:r>
              <a:rPr kumimoji="0" lang="fi-FI" altLang="fi-FI" sz="1200" b="1" i="0" u="none" strike="noStrike" cap="none" normalizeH="0" baseline="0" dirty="0">
                <a:ln>
                  <a:noFill/>
                </a:ln>
                <a:solidFill>
                  <a:schemeClr val="tx1"/>
                </a:solidFill>
                <a:effectLst/>
                <a:latin typeface="Arial" panose="020B0604020202020204" pitchFamily="34" charset="0"/>
              </a:rPr>
              <a:t> to </a:t>
            </a:r>
            <a:r>
              <a:rPr kumimoji="0" lang="fi-FI" altLang="fi-FI" sz="1200" b="1" i="0" u="none" strike="noStrike" cap="none" normalizeH="0" baseline="0" dirty="0" err="1">
                <a:ln>
                  <a:noFill/>
                </a:ln>
                <a:solidFill>
                  <a:schemeClr val="tx1"/>
                </a:solidFill>
                <a:effectLst/>
                <a:latin typeface="Arial" panose="020B0604020202020204" pitchFamily="34" charset="0"/>
              </a:rPr>
              <a:t>Impact</a:t>
            </a:r>
            <a:r>
              <a:rPr kumimoji="0" lang="fi-FI" altLang="fi-FI" sz="1200" b="1"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fi-FI" altLang="fi-FI" sz="1200" b="1"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200" b="0" i="0" u="none" strike="noStrike" cap="none" normalizeH="0" baseline="0" dirty="0">
                <a:ln>
                  <a:noFill/>
                </a:ln>
                <a:solidFill>
                  <a:schemeClr val="tx1"/>
                </a:solidFill>
                <a:effectLst/>
                <a:latin typeface="Arial" panose="020B0604020202020204" pitchFamily="34" charset="0"/>
              </a:rPr>
              <a:t>“</a:t>
            </a:r>
            <a:r>
              <a:rPr kumimoji="0" lang="fi-FI" altLang="fi-FI" sz="1200" b="0" i="1" u="none" strike="noStrike" cap="none" normalizeH="0" baseline="0" dirty="0">
                <a:ln>
                  <a:noFill/>
                </a:ln>
                <a:solidFill>
                  <a:schemeClr val="tx1"/>
                </a:solidFill>
                <a:effectLst/>
                <a:latin typeface="Arial" panose="020B0604020202020204" pitchFamily="34" charset="0"/>
              </a:rPr>
              <a:t>A </a:t>
            </a:r>
            <a:r>
              <a:rPr kumimoji="0" lang="fi-FI" altLang="fi-FI" sz="1200" b="0" i="1" u="none" strike="noStrike" cap="none" normalizeH="0" baseline="0" dirty="0" err="1">
                <a:ln>
                  <a:noFill/>
                </a:ln>
                <a:solidFill>
                  <a:schemeClr val="tx1"/>
                </a:solidFill>
                <a:effectLst/>
                <a:latin typeface="Arial" panose="020B0604020202020204" pitchFamily="34" charset="0"/>
              </a:rPr>
              <a:t>researc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act</a:t>
            </a:r>
            <a:r>
              <a:rPr kumimoji="0" lang="fi-FI" altLang="fi-FI" sz="1200" b="0" i="1" u="none" strike="noStrike" cap="none" normalizeH="0" baseline="0" dirty="0">
                <a:ln>
                  <a:noFill/>
                </a:ln>
                <a:solidFill>
                  <a:schemeClr val="tx1"/>
                </a:solidFill>
                <a:effectLst/>
                <a:latin typeface="Arial" panose="020B0604020202020204" pitchFamily="34" charset="0"/>
              </a:rPr>
              <a:t> is a </a:t>
            </a:r>
            <a:r>
              <a:rPr kumimoji="0" lang="fi-FI" altLang="fi-FI" sz="1200" b="0" i="1" u="none" strike="noStrike" cap="none" normalizeH="0" baseline="0" dirty="0" err="1">
                <a:ln>
                  <a:noFill/>
                </a:ln>
                <a:solidFill>
                  <a:schemeClr val="tx1"/>
                </a:solidFill>
                <a:effectLst/>
                <a:latin typeface="Arial" panose="020B0604020202020204" pitchFamily="34" charset="0"/>
              </a:rPr>
              <a:t>recorded</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therwis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uditabl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ccasion</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influenc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rom</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cademic</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search</a:t>
            </a:r>
            <a:r>
              <a:rPr kumimoji="0" lang="fi-FI" altLang="fi-FI" sz="1200" b="0" i="1" u="none" strike="noStrike" cap="none" normalizeH="0" baseline="0" dirty="0">
                <a:ln>
                  <a:noFill/>
                </a:ln>
                <a:solidFill>
                  <a:schemeClr val="tx1"/>
                </a:solidFill>
                <a:effectLst/>
                <a:latin typeface="Arial" panose="020B0604020202020204" pitchFamily="34" charset="0"/>
              </a:rPr>
              <a:t> on </a:t>
            </a:r>
            <a:r>
              <a:rPr kumimoji="0" lang="fi-FI" altLang="fi-FI" sz="1200" b="0" i="1" u="none" strike="noStrike" cap="none" normalizeH="0" baseline="0" dirty="0" err="1">
                <a:ln>
                  <a:noFill/>
                </a:ln>
                <a:solidFill>
                  <a:schemeClr val="tx1"/>
                </a:solidFill>
                <a:effectLst/>
                <a:latin typeface="Arial" panose="020B0604020202020204" pitchFamily="34" charset="0"/>
              </a:rPr>
              <a:t>anothe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c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ganization</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 </a:t>
            </a:r>
            <a:r>
              <a:rPr kumimoji="0" lang="fi-FI" altLang="fi-FI" sz="1200" b="0" i="1" u="none" strike="noStrike" cap="none" normalizeH="0" baseline="0" dirty="0">
                <a:ln>
                  <a:noFill/>
                </a:ln>
                <a:solidFill>
                  <a:schemeClr val="tx1"/>
                </a:solidFill>
                <a:effectLst/>
                <a:latin typeface="Arial" panose="020B0604020202020204" pitchFamily="34" charset="0"/>
              </a:rPr>
              <a:t>It is </a:t>
            </a:r>
            <a:r>
              <a:rPr kumimoji="0" lang="fi-FI" altLang="fi-FI" sz="1200" b="0" i="1" u="none" strike="noStrike" cap="none" normalizeH="0" baseline="0" dirty="0" err="1">
                <a:ln>
                  <a:noFill/>
                </a:ln>
                <a:solidFill>
                  <a:schemeClr val="tx1"/>
                </a:solidFill>
                <a:effectLst/>
                <a:latin typeface="Arial" panose="020B0604020202020204" pitchFamily="34" charset="0"/>
              </a:rPr>
              <a:t>no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am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hing</a:t>
            </a:r>
            <a:r>
              <a:rPr kumimoji="0" lang="fi-FI" altLang="fi-FI" sz="1200" b="0" i="1" u="none" strike="noStrike" cap="none" normalizeH="0" baseline="0" dirty="0">
                <a:ln>
                  <a:noFill/>
                </a:ln>
                <a:solidFill>
                  <a:schemeClr val="tx1"/>
                </a:solidFill>
                <a:effectLst/>
                <a:latin typeface="Arial" panose="020B0604020202020204" pitchFamily="34" charset="0"/>
              </a:rPr>
              <a:t> as a </a:t>
            </a:r>
            <a:r>
              <a:rPr kumimoji="0" lang="fi-FI" altLang="fi-FI" sz="1200" b="0" i="1" u="none" strike="noStrike" cap="none" normalizeH="0" baseline="0" dirty="0" err="1">
                <a:ln>
                  <a:noFill/>
                </a:ln>
                <a:solidFill>
                  <a:schemeClr val="tx1"/>
                </a:solidFill>
                <a:effectLst/>
                <a:latin typeface="Arial" panose="020B0604020202020204" pitchFamily="34" charset="0"/>
              </a:rPr>
              <a:t>change</a:t>
            </a:r>
            <a:r>
              <a:rPr kumimoji="0" lang="fi-FI" altLang="fi-FI" sz="1200" b="0" i="1" u="none" strike="noStrike" cap="none" normalizeH="0" baseline="0" dirty="0">
                <a:ln>
                  <a:noFill/>
                </a:ln>
                <a:solidFill>
                  <a:schemeClr val="tx1"/>
                </a:solidFill>
                <a:effectLst/>
                <a:latin typeface="Arial" panose="020B0604020202020204" pitchFamily="34" charset="0"/>
              </a:rPr>
              <a:t> in </a:t>
            </a:r>
            <a:r>
              <a:rPr kumimoji="0" lang="fi-FI" altLang="fi-FI" sz="1200" b="0" i="1" u="none" strike="noStrike" cap="none" normalizeH="0" baseline="0" dirty="0" err="1">
                <a:ln>
                  <a:noFill/>
                </a:ln>
                <a:solidFill>
                  <a:schemeClr val="tx1"/>
                </a:solidFill>
                <a:effectLst/>
                <a:latin typeface="Arial" panose="020B0604020202020204" pitchFamily="34" charset="0"/>
              </a:rPr>
              <a:t>outpu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ctivities</a:t>
            </a:r>
            <a:r>
              <a:rPr kumimoji="0" lang="fi-FI" altLang="fi-FI" sz="1200" b="0" i="1" u="none" strike="noStrike" cap="none" normalizeH="0" baseline="0" dirty="0">
                <a:ln>
                  <a:noFill/>
                </a:ln>
                <a:solidFill>
                  <a:schemeClr val="tx1"/>
                </a:solidFill>
                <a:effectLst/>
                <a:latin typeface="Arial" panose="020B0604020202020204" pitchFamily="34" charset="0"/>
              </a:rPr>
              <a:t> as a </a:t>
            </a:r>
            <a:r>
              <a:rPr kumimoji="0" lang="fi-FI" altLang="fi-FI" sz="1200" b="0" i="1" u="none" strike="noStrike" cap="none" normalizeH="0" baseline="0" dirty="0" err="1">
                <a:ln>
                  <a:noFill/>
                </a:ln>
                <a:solidFill>
                  <a:schemeClr val="tx1"/>
                </a:solidFill>
                <a:effectLst/>
                <a:latin typeface="Arial" panose="020B0604020202020204" pitchFamily="34" charset="0"/>
              </a:rPr>
              <a:t>result</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tha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nfluenc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til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less</a:t>
            </a:r>
            <a:r>
              <a:rPr kumimoji="0" lang="fi-FI" altLang="fi-FI" sz="1200" b="0" i="1" u="none" strike="noStrike" cap="none" normalizeH="0" baseline="0" dirty="0">
                <a:ln>
                  <a:noFill/>
                </a:ln>
                <a:solidFill>
                  <a:schemeClr val="tx1"/>
                </a:solidFill>
                <a:effectLst/>
                <a:latin typeface="Arial" panose="020B0604020202020204" pitchFamily="34" charset="0"/>
              </a:rPr>
              <a:t> a </a:t>
            </a:r>
            <a:r>
              <a:rPr kumimoji="0" lang="fi-FI" altLang="fi-FI" sz="1200" b="0" i="1" u="none" strike="noStrike" cap="none" normalizeH="0" baseline="0" dirty="0" err="1">
                <a:ln>
                  <a:noFill/>
                </a:ln>
                <a:solidFill>
                  <a:schemeClr val="tx1"/>
                </a:solidFill>
                <a:effectLst/>
                <a:latin typeface="Arial" panose="020B0604020202020204" pitchFamily="34" charset="0"/>
              </a:rPr>
              <a:t>change</a:t>
            </a:r>
            <a:r>
              <a:rPr kumimoji="0" lang="fi-FI" altLang="fi-FI" sz="1200" b="0" i="1" u="none" strike="noStrike" cap="none" normalizeH="0" baseline="0" dirty="0">
                <a:ln>
                  <a:noFill/>
                </a:ln>
                <a:solidFill>
                  <a:schemeClr val="tx1"/>
                </a:solidFill>
                <a:effectLst/>
                <a:latin typeface="Arial" panose="020B0604020202020204" pitchFamily="34" charset="0"/>
              </a:rPr>
              <a:t> in </a:t>
            </a:r>
            <a:r>
              <a:rPr kumimoji="0" lang="fi-FI" altLang="fi-FI" sz="1200" b="0" i="1" u="none" strike="noStrike" cap="none" normalizeH="0" baseline="0" dirty="0" err="1">
                <a:ln>
                  <a:noFill/>
                </a:ln>
                <a:solidFill>
                  <a:schemeClr val="tx1"/>
                </a:solidFill>
                <a:effectLst/>
                <a:latin typeface="Arial" panose="020B0604020202020204" pitchFamily="34" charset="0"/>
              </a:rPr>
              <a:t>soci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utcom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in </a:t>
            </a:r>
            <a:r>
              <a:rPr kumimoji="0" lang="fi-FI" altLang="fi-FI" sz="1200" b="0" i="1" u="none" strike="noStrike" cap="none" normalizeH="0" baseline="0" dirty="0" err="1">
                <a:ln>
                  <a:noFill/>
                </a:ln>
                <a:solidFill>
                  <a:schemeClr val="tx1"/>
                </a:solidFill>
                <a:effectLst/>
                <a:latin typeface="Arial" panose="020B0604020202020204" pitchFamily="34" charset="0"/>
              </a:rPr>
              <a:t>organization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utputs</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soci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utcom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r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lway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ttributable</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multipl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orces</a:t>
            </a:r>
            <a:r>
              <a:rPr kumimoji="0" lang="fi-FI" altLang="fi-FI" sz="1200" b="0" i="1" u="none" strike="noStrike" cap="none" normalizeH="0" baseline="0" dirty="0">
                <a:ln>
                  <a:noFill/>
                </a:ln>
                <a:solidFill>
                  <a:schemeClr val="tx1"/>
                </a:solidFill>
                <a:effectLst/>
                <a:latin typeface="Arial" panose="020B0604020202020204" pitchFamily="34" charset="0"/>
              </a:rPr>
              <a:t> and </a:t>
            </a:r>
            <a:r>
              <a:rPr kumimoji="0" lang="fi-FI" altLang="fi-FI" sz="1200" b="0" i="1" u="none" strike="noStrike" cap="none" normalizeH="0" baseline="0" dirty="0" err="1">
                <a:ln>
                  <a:noFill/>
                </a:ln>
                <a:solidFill>
                  <a:schemeClr val="tx1"/>
                </a:solidFill>
                <a:effectLst/>
                <a:latin typeface="Arial" panose="020B0604020202020204" pitchFamily="34" charset="0"/>
              </a:rPr>
              <a:t>influenc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onsequent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verified</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aus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link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rom</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n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uth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piece</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work</a:t>
            </a:r>
            <a:r>
              <a:rPr kumimoji="0" lang="fi-FI" altLang="fi-FI" sz="1200" b="0" i="1" u="none" strike="noStrike" cap="none" normalizeH="0" baseline="0" dirty="0">
                <a:ln>
                  <a:noFill/>
                </a:ln>
                <a:solidFill>
                  <a:schemeClr val="tx1"/>
                </a:solidFill>
                <a:effectLst/>
                <a:latin typeface="Arial" panose="020B0604020202020204" pitchFamily="34" charset="0"/>
              </a:rPr>
              <a:t> to output </a:t>
            </a:r>
            <a:r>
              <a:rPr kumimoji="0" lang="fi-FI" altLang="fi-FI" sz="1200" b="0" i="1" u="none" strike="noStrike" cap="none" normalizeH="0" baseline="0" dirty="0" err="1">
                <a:ln>
                  <a:noFill/>
                </a:ln>
                <a:solidFill>
                  <a:schemeClr val="tx1"/>
                </a:solidFill>
                <a:effectLst/>
                <a:latin typeface="Arial" panose="020B0604020202020204" pitchFamily="34" charset="0"/>
              </a:rPr>
              <a:t>chang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social</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utcom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anno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alisticall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a:t>
            </a:r>
            <a:r>
              <a:rPr kumimoji="0" lang="fi-FI" altLang="fi-FI" sz="1200" b="0" i="1" u="none" strike="noStrike" cap="none" normalizeH="0" baseline="0" dirty="0">
                <a:ln>
                  <a:noFill/>
                </a:ln>
                <a:solidFill>
                  <a:schemeClr val="tx1"/>
                </a:solidFill>
                <a:effectLst/>
                <a:latin typeface="Arial" panose="020B0604020202020204" pitchFamily="34" charset="0"/>
              </a:rPr>
              <a:t> made </a:t>
            </a:r>
            <a:r>
              <a:rPr kumimoji="0" lang="fi-FI" altLang="fi-FI" sz="1200" b="0" i="1" u="none" strike="noStrike" cap="none" normalizeH="0" baseline="0" dirty="0" err="1">
                <a:ln>
                  <a:noFill/>
                </a:ln>
                <a:solidFill>
                  <a:schemeClr val="tx1"/>
                </a:solidFill>
                <a:effectLst/>
                <a:latin typeface="Arial" panose="020B0604020202020204" pitchFamily="34" charset="0"/>
              </a:rPr>
              <a:t>o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measured</a:t>
            </a:r>
            <a:r>
              <a:rPr kumimoji="0" lang="fi-FI" altLang="fi-FI" sz="1200" b="0" i="1" u="none" strike="noStrike" cap="none" normalizeH="0" baseline="0" dirty="0">
                <a:ln>
                  <a:noFill/>
                </a:ln>
                <a:solidFill>
                  <a:schemeClr val="tx1"/>
                </a:solidFill>
                <a:effectLst/>
                <a:latin typeface="Arial" panose="020B0604020202020204" pitchFamily="34" charset="0"/>
              </a:rPr>
              <a:t> in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urren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tate</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knowledge</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 </a:t>
            </a:r>
            <a:r>
              <a:rPr kumimoji="0" lang="fi-FI" altLang="fi-FI" sz="1200" b="0" i="1" u="none" strike="noStrike" cap="none" normalizeH="0" baseline="0" dirty="0" err="1">
                <a:ln>
                  <a:noFill/>
                </a:ln>
                <a:solidFill>
                  <a:schemeClr val="tx1"/>
                </a:solidFill>
                <a:effectLst/>
                <a:latin typeface="Arial" panose="020B0604020202020204" pitchFamily="34" charset="0"/>
              </a:rPr>
              <a:t>Howeve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econdar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act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rom</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searc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a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sometimes</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traced</a:t>
            </a:r>
            <a:r>
              <a:rPr kumimoji="0" lang="fi-FI" altLang="fi-FI" sz="1200" b="0" i="1" u="none" strike="noStrike" cap="none" normalizeH="0" baseline="0" dirty="0">
                <a:ln>
                  <a:noFill/>
                </a:ln>
                <a:solidFill>
                  <a:schemeClr val="tx1"/>
                </a:solidFill>
                <a:effectLst/>
                <a:latin typeface="Arial" panose="020B0604020202020204" pitchFamily="34" charset="0"/>
              </a:rPr>
              <a:t> at a </a:t>
            </a:r>
            <a:r>
              <a:rPr kumimoji="0" lang="fi-FI" altLang="fi-FI" sz="1200" b="0" i="1" u="none" strike="noStrike" cap="none" normalizeH="0" baseline="0" dirty="0" err="1">
                <a:ln>
                  <a:noFill/>
                </a:ln>
                <a:solidFill>
                  <a:schemeClr val="tx1"/>
                </a:solidFill>
                <a:effectLst/>
                <a:latin typeface="Arial" panose="020B0604020202020204" pitchFamily="34" charset="0"/>
              </a:rPr>
              <a:t>muc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mor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ggregat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level</a:t>
            </a:r>
            <a:r>
              <a:rPr kumimoji="0" lang="fi-FI" altLang="fi-FI" sz="1200" b="0" i="1" u="none" strike="noStrike" cap="none" normalizeH="0" baseline="0" dirty="0">
                <a:ln>
                  <a:noFill/>
                </a:ln>
                <a:solidFill>
                  <a:schemeClr val="tx1"/>
                </a:solidFill>
                <a:effectLst/>
                <a:latin typeface="Arial" panose="020B0604020202020204" pitchFamily="34" charset="0"/>
              </a:rPr>
              <a:t>, and some </a:t>
            </a:r>
            <a:r>
              <a:rPr kumimoji="0" lang="fi-FI" altLang="fi-FI" sz="1200" b="0" i="1" u="none" strike="noStrike" cap="none" normalizeH="0" baseline="0" dirty="0" err="1">
                <a:ln>
                  <a:noFill/>
                </a:ln>
                <a:solidFill>
                  <a:schemeClr val="tx1"/>
                </a:solidFill>
                <a:effectLst/>
                <a:latin typeface="Arial" panose="020B0604020202020204" pitchFamily="34" charset="0"/>
              </a:rPr>
              <a:t>macro-evaluation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economic</a:t>
            </a:r>
            <a:r>
              <a:rPr kumimoji="0" lang="fi-FI" altLang="fi-FI" sz="1200" b="0" i="1" u="none" strike="noStrike" cap="none" normalizeH="0" baseline="0" dirty="0">
                <a:ln>
                  <a:noFill/>
                </a:ln>
                <a:solidFill>
                  <a:schemeClr val="tx1"/>
                </a:solidFill>
                <a:effectLst/>
                <a:latin typeface="Arial" panose="020B0604020202020204" pitchFamily="34" charset="0"/>
              </a:rPr>
              <a:t> net </a:t>
            </a:r>
            <a:r>
              <a:rPr kumimoji="0" lang="fi-FI" altLang="fi-FI" sz="1200" b="0" i="1" u="none" strike="noStrike" cap="none" normalizeH="0" baseline="0" dirty="0" err="1">
                <a:ln>
                  <a:noFill/>
                </a:ln>
                <a:solidFill>
                  <a:schemeClr val="tx1"/>
                </a:solidFill>
                <a:effectLst/>
                <a:latin typeface="Arial" panose="020B0604020202020204" pitchFamily="34" charset="0"/>
              </a:rPr>
              <a:t>benefit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universit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esearch</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r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feasibl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rov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our</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knowledge</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primary</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impacts</a:t>
            </a:r>
            <a:r>
              <a:rPr kumimoji="0" lang="fi-FI" altLang="fi-FI" sz="1200" b="0" i="1" u="none" strike="noStrike" cap="none" normalizeH="0" baseline="0" dirty="0">
                <a:ln>
                  <a:noFill/>
                </a:ln>
                <a:solidFill>
                  <a:schemeClr val="tx1"/>
                </a:solidFill>
                <a:effectLst/>
                <a:latin typeface="Arial" panose="020B0604020202020204" pitchFamily="34" charset="0"/>
              </a:rPr>
              <a:t> as </a:t>
            </a:r>
            <a:r>
              <a:rPr kumimoji="0" lang="fi-FI" altLang="fi-FI" sz="1200" b="0" i="1" u="none" strike="noStrike" cap="none" normalizeH="0" baseline="0" dirty="0" err="1">
                <a:ln>
                  <a:noFill/>
                </a:ln>
                <a:solidFill>
                  <a:schemeClr val="tx1"/>
                </a:solidFill>
                <a:effectLst/>
                <a:latin typeface="Arial" panose="020B0604020202020204" pitchFamily="34" charset="0"/>
              </a:rPr>
              <a:t>occasions</a:t>
            </a:r>
            <a:r>
              <a:rPr kumimoji="0" lang="fi-FI" altLang="fi-FI" sz="1200" b="0" i="1" u="none" strike="noStrike" cap="none" normalizeH="0" baseline="0" dirty="0">
                <a:ln>
                  <a:noFill/>
                </a:ln>
                <a:solidFill>
                  <a:schemeClr val="tx1"/>
                </a:solidFill>
                <a:effectLst/>
                <a:latin typeface="Arial" panose="020B0604020202020204" pitchFamily="34" charset="0"/>
              </a:rPr>
              <a:t> of </a:t>
            </a:r>
            <a:r>
              <a:rPr kumimoji="0" lang="fi-FI" altLang="fi-FI" sz="1200" b="0" i="1" u="none" strike="noStrike" cap="none" normalizeH="0" baseline="0" dirty="0" err="1">
                <a:ln>
                  <a:noFill/>
                </a:ln>
                <a:solidFill>
                  <a:schemeClr val="tx1"/>
                </a:solidFill>
                <a:effectLst/>
                <a:latin typeface="Arial" panose="020B0604020202020204" pitchFamily="34" charset="0"/>
              </a:rPr>
              <a:t>influence</a:t>
            </a:r>
            <a:r>
              <a:rPr kumimoji="0" lang="fi-FI" altLang="fi-FI" sz="1200" b="0" i="1" u="none" strike="noStrike" cap="none" normalizeH="0" baseline="0" dirty="0">
                <a:ln>
                  <a:noFill/>
                </a:ln>
                <a:solidFill>
                  <a:schemeClr val="tx1"/>
                </a:solidFill>
                <a:effectLst/>
                <a:latin typeface="Arial" panose="020B0604020202020204" pitchFamily="34" charset="0"/>
              </a:rPr>
              <a:t> is </a:t>
            </a:r>
            <a:r>
              <a:rPr kumimoji="0" lang="fi-FI" altLang="fi-FI" sz="1200" b="0" i="1" u="none" strike="noStrike" cap="none" normalizeH="0" baseline="0" dirty="0" err="1">
                <a:ln>
                  <a:noFill/>
                </a:ln>
                <a:solidFill>
                  <a:schemeClr val="tx1"/>
                </a:solidFill>
                <a:effectLst/>
                <a:latin typeface="Arial" panose="020B0604020202020204" pitchFamily="34" charset="0"/>
              </a:rPr>
              <a:t>th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s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route</a:t>
            </a:r>
            <a:r>
              <a:rPr kumimoji="0" lang="fi-FI" altLang="fi-FI" sz="1200" b="0" i="1" u="none" strike="noStrike" cap="none" normalizeH="0" baseline="0" dirty="0">
                <a:ln>
                  <a:noFill/>
                </a:ln>
                <a:solidFill>
                  <a:schemeClr val="tx1"/>
                </a:solidFill>
                <a:effectLst/>
                <a:latin typeface="Arial" panose="020B0604020202020204" pitchFamily="34" charset="0"/>
              </a:rPr>
              <a:t> to </a:t>
            </a:r>
            <a:r>
              <a:rPr kumimoji="0" lang="fi-FI" altLang="fi-FI" sz="1200" b="0" i="1" u="none" strike="noStrike" cap="none" normalizeH="0" baseline="0" dirty="0" err="1">
                <a:ln>
                  <a:noFill/>
                </a:ln>
                <a:solidFill>
                  <a:schemeClr val="tx1"/>
                </a:solidFill>
                <a:effectLst/>
                <a:latin typeface="Arial" panose="020B0604020202020204" pitchFamily="34" charset="0"/>
              </a:rPr>
              <a:t>expanding</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what</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can</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be</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achieved</a:t>
            </a:r>
            <a:r>
              <a:rPr kumimoji="0" lang="fi-FI" altLang="fi-FI" sz="1200" b="0" i="1" u="none" strike="noStrike" cap="none" normalizeH="0" baseline="0" dirty="0">
                <a:ln>
                  <a:noFill/>
                </a:ln>
                <a:solidFill>
                  <a:schemeClr val="tx1"/>
                </a:solidFill>
                <a:effectLst/>
                <a:latin typeface="Arial" panose="020B0604020202020204" pitchFamily="34" charset="0"/>
              </a:rPr>
              <a:t> </a:t>
            </a:r>
            <a:r>
              <a:rPr kumimoji="0" lang="fi-FI" altLang="fi-FI" sz="1200" b="0" i="1" u="none" strike="noStrike" cap="none" normalizeH="0" baseline="0" dirty="0" err="1">
                <a:ln>
                  <a:noFill/>
                </a:ln>
                <a:solidFill>
                  <a:schemeClr val="tx1"/>
                </a:solidFill>
                <a:effectLst/>
                <a:latin typeface="Arial" panose="020B0604020202020204" pitchFamily="34" charset="0"/>
              </a:rPr>
              <a:t>here</a:t>
            </a:r>
            <a:r>
              <a:rPr kumimoji="0" lang="fi-FI" altLang="fi-FI" sz="1200" b="0" i="1" u="none" strike="noStrike" cap="none" normalizeH="0" baseline="0" dirty="0">
                <a:ln>
                  <a:noFill/>
                </a:ln>
                <a:solidFill>
                  <a:schemeClr val="tx1"/>
                </a:solidFill>
                <a:effectLst/>
                <a:latin typeface="Arial" panose="020B0604020202020204" pitchFamily="34" charset="0"/>
              </a:rPr>
              <a:t>.</a:t>
            </a:r>
            <a:r>
              <a:rPr kumimoji="0" lang="fi-FI" altLang="fi-FI" sz="1200" b="0"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a:ln>
                  <a:noFill/>
                </a:ln>
                <a:solidFill>
                  <a:schemeClr val="tx1"/>
                </a:solidFill>
                <a:effectLst/>
                <a:latin typeface="Arial" panose="020B0604020202020204" pitchFamily="34" charset="0"/>
              </a:rPr>
              <a:t>London School of </a:t>
            </a:r>
            <a:r>
              <a:rPr kumimoji="0" lang="fi-FI" altLang="fi-FI" sz="1200" b="1" i="0" u="none" strike="noStrike" cap="none" normalizeH="0" baseline="0" dirty="0" err="1">
                <a:ln>
                  <a:noFill/>
                </a:ln>
                <a:solidFill>
                  <a:schemeClr val="tx1"/>
                </a:solidFill>
                <a:effectLst/>
                <a:latin typeface="Arial" panose="020B0604020202020204" pitchFamily="34" charset="0"/>
              </a:rPr>
              <a:t>Economics</a:t>
            </a:r>
            <a:r>
              <a:rPr kumimoji="0" lang="fi-FI" altLang="fi-FI" sz="1200" b="1"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err="1">
                <a:ln>
                  <a:noFill/>
                </a:ln>
                <a:solidFill>
                  <a:schemeClr val="tx1"/>
                </a:solidFill>
                <a:effectLst/>
                <a:latin typeface="Arial" panose="020B0604020202020204" pitchFamily="34" charset="0"/>
              </a:rPr>
              <a:t>Impact</a:t>
            </a:r>
            <a:r>
              <a:rPr kumimoji="0" lang="fi-FI" altLang="fi-FI" sz="1200" b="1"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err="1">
                <a:ln>
                  <a:noFill/>
                </a:ln>
                <a:solidFill>
                  <a:schemeClr val="tx1"/>
                </a:solidFill>
                <a:effectLst/>
                <a:latin typeface="Arial" panose="020B0604020202020204" pitchFamily="34" charset="0"/>
              </a:rPr>
              <a:t>Handbook</a:t>
            </a:r>
            <a:r>
              <a:rPr kumimoji="0" lang="fi-FI" altLang="fi-FI" sz="1200" b="1" i="0" u="none" strike="noStrike" cap="none" normalizeH="0" baseline="0" dirty="0">
                <a:ln>
                  <a:noFill/>
                </a:ln>
                <a:solidFill>
                  <a:schemeClr val="tx1"/>
                </a:solidFill>
                <a:effectLst/>
                <a:latin typeface="Arial" panose="020B0604020202020204" pitchFamily="34" charset="0"/>
              </a:rPr>
              <a:t> for </a:t>
            </a:r>
            <a:r>
              <a:rPr kumimoji="0" lang="fi-FI" altLang="fi-FI" sz="1200" b="1" i="0" u="none" strike="noStrike" cap="none" normalizeH="0" baseline="0" dirty="0" err="1">
                <a:ln>
                  <a:noFill/>
                </a:ln>
                <a:solidFill>
                  <a:schemeClr val="tx1"/>
                </a:solidFill>
                <a:effectLst/>
                <a:latin typeface="Arial" panose="020B0604020202020204" pitchFamily="34" charset="0"/>
              </a:rPr>
              <a:t>Social</a:t>
            </a:r>
            <a:r>
              <a:rPr kumimoji="0" lang="fi-FI" altLang="fi-FI" sz="1200" b="1" i="0" u="none" strike="noStrike" cap="none" normalizeH="0" baseline="0" dirty="0">
                <a:ln>
                  <a:noFill/>
                </a:ln>
                <a:solidFill>
                  <a:schemeClr val="tx1"/>
                </a:solidFill>
                <a:effectLst/>
                <a:latin typeface="Arial" panose="020B0604020202020204" pitchFamily="34" charset="0"/>
              </a:rPr>
              <a:t> </a:t>
            </a:r>
            <a:r>
              <a:rPr kumimoji="0" lang="fi-FI" altLang="fi-FI" sz="1200" b="1" i="0" u="none" strike="noStrike" cap="none" normalizeH="0" baseline="0" dirty="0" err="1">
                <a:ln>
                  <a:noFill/>
                </a:ln>
                <a:solidFill>
                  <a:schemeClr val="tx1"/>
                </a:solidFill>
                <a:effectLst/>
                <a:latin typeface="Arial" panose="020B0604020202020204" pitchFamily="34" charset="0"/>
              </a:rPr>
              <a:t>Scientists</a:t>
            </a:r>
            <a:r>
              <a:rPr kumimoji="0" lang="fi-FI" altLang="fi-FI" sz="1200" b="1" i="0" u="none" strike="noStrike" cap="none" normalizeH="0" baseline="0" dirty="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273537672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AE72EA9-6CD3-5213-24CA-1527A9A4BF69}"/>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E2155620-4AD2-B94D-460A-CF4D7878FE83}"/>
              </a:ext>
            </a:extLst>
          </p:cNvPr>
          <p:cNvSpPr>
            <a:spLocks noGrp="1"/>
          </p:cNvSpPr>
          <p:nvPr>
            <p:ph type="sldNum" sz="quarter" idx="12"/>
          </p:nvPr>
        </p:nvSpPr>
        <p:spPr/>
        <p:txBody>
          <a:bodyPr/>
          <a:lstStyle/>
          <a:p>
            <a:pPr>
              <a:defRPr/>
            </a:pPr>
            <a:fld id="{4669315E-5A66-CF44-AE5D-C333B2F730C4}" type="slidenum">
              <a:rPr lang="en-GB" smtClean="0"/>
              <a:pPr>
                <a:defRPr/>
              </a:pPr>
              <a:t>7</a:t>
            </a:fld>
            <a:endParaRPr lang="en-GB" dirty="0"/>
          </a:p>
        </p:txBody>
      </p:sp>
      <p:sp>
        <p:nvSpPr>
          <p:cNvPr id="6" name="Title 5">
            <a:extLst>
              <a:ext uri="{FF2B5EF4-FFF2-40B4-BE49-F238E27FC236}">
                <a16:creationId xmlns:a16="http://schemas.microsoft.com/office/drawing/2014/main" id="{FBE72D84-8AC9-A5A9-7041-84BEB8F96EF2}"/>
              </a:ext>
            </a:extLst>
          </p:cNvPr>
          <p:cNvSpPr>
            <a:spLocks noGrp="1"/>
          </p:cNvSpPr>
          <p:nvPr>
            <p:ph type="title"/>
          </p:nvPr>
        </p:nvSpPr>
        <p:spPr/>
        <p:txBody>
          <a:bodyPr/>
          <a:lstStyle/>
          <a:p>
            <a:r>
              <a:rPr lang="fi-FI" dirty="0" err="1"/>
              <a:t>Minkätyyppisestä</a:t>
            </a:r>
            <a:r>
              <a:rPr lang="fi-FI" dirty="0"/>
              <a:t> tutkimuksesta on kyse – mitä tavoitellaan?</a:t>
            </a:r>
          </a:p>
        </p:txBody>
      </p:sp>
      <p:pic>
        <p:nvPicPr>
          <p:cNvPr id="8" name="Picture 7">
            <a:extLst>
              <a:ext uri="{FF2B5EF4-FFF2-40B4-BE49-F238E27FC236}">
                <a16:creationId xmlns:a16="http://schemas.microsoft.com/office/drawing/2014/main" id="{79F67C1C-1DA2-17E2-6556-8E83BFD2E6B4}"/>
              </a:ext>
            </a:extLst>
          </p:cNvPr>
          <p:cNvPicPr>
            <a:picLocks noChangeAspect="1"/>
          </p:cNvPicPr>
          <p:nvPr/>
        </p:nvPicPr>
        <p:blipFill rotWithShape="1">
          <a:blip r:embed="rId2"/>
          <a:srcRect l="15744" t="23750" r="16925" b="14301"/>
          <a:stretch/>
        </p:blipFill>
        <p:spPr>
          <a:xfrm>
            <a:off x="1991544" y="1782958"/>
            <a:ext cx="8858575" cy="4584701"/>
          </a:xfrm>
          <a:prstGeom prst="rect">
            <a:avLst/>
          </a:prstGeom>
        </p:spPr>
      </p:pic>
      <p:sp>
        <p:nvSpPr>
          <p:cNvPr id="10" name="TextBox 9">
            <a:extLst>
              <a:ext uri="{FF2B5EF4-FFF2-40B4-BE49-F238E27FC236}">
                <a16:creationId xmlns:a16="http://schemas.microsoft.com/office/drawing/2014/main" id="{A7882F1E-EA6D-75C4-A7AB-E10EF4408563}"/>
              </a:ext>
            </a:extLst>
          </p:cNvPr>
          <p:cNvSpPr txBox="1"/>
          <p:nvPr/>
        </p:nvSpPr>
        <p:spPr bwMode="auto">
          <a:xfrm>
            <a:off x="4752565" y="6276488"/>
            <a:ext cx="6097554"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spAutoFit/>
          </a:bodyPr>
          <a:lstStyle/>
          <a:p>
            <a:r>
              <a:rPr lang="en-US" sz="1400" b="0" i="0" dirty="0">
                <a:solidFill>
                  <a:srgbClr val="333333"/>
                </a:solidFill>
                <a:effectLst/>
                <a:latin typeface="-apple-system"/>
              </a:rPr>
              <a:t>Greenhalgh, T., Raftery, J., </a:t>
            </a:r>
            <a:r>
              <a:rPr lang="en-US" sz="1400" b="0" i="0" dirty="0" err="1">
                <a:solidFill>
                  <a:srgbClr val="333333"/>
                </a:solidFill>
                <a:effectLst/>
                <a:latin typeface="-apple-system"/>
              </a:rPr>
              <a:t>Hanney</a:t>
            </a:r>
            <a:r>
              <a:rPr lang="en-US" sz="1400" b="0" i="0" dirty="0">
                <a:solidFill>
                  <a:srgbClr val="333333"/>
                </a:solidFill>
                <a:effectLst/>
                <a:latin typeface="-apple-system"/>
              </a:rPr>
              <a:t>, S. </a:t>
            </a:r>
            <a:r>
              <a:rPr lang="en-US" sz="1400" b="0" i="1" dirty="0">
                <a:solidFill>
                  <a:srgbClr val="333333"/>
                </a:solidFill>
                <a:effectLst/>
                <a:latin typeface="-apple-system"/>
              </a:rPr>
              <a:t>et al.</a:t>
            </a:r>
            <a:r>
              <a:rPr lang="en-US" sz="1400" b="0" i="0" dirty="0">
                <a:solidFill>
                  <a:srgbClr val="333333"/>
                </a:solidFill>
                <a:effectLst/>
                <a:latin typeface="-apple-system"/>
              </a:rPr>
              <a:t> Research impact: a narrative review. </a:t>
            </a:r>
            <a:r>
              <a:rPr lang="en-US" sz="1400" b="0" i="1" dirty="0">
                <a:solidFill>
                  <a:srgbClr val="333333"/>
                </a:solidFill>
                <a:effectLst/>
                <a:latin typeface="-apple-system"/>
              </a:rPr>
              <a:t>BMC Med</a:t>
            </a:r>
            <a:r>
              <a:rPr lang="en-US" sz="1400" b="0" i="0" dirty="0">
                <a:solidFill>
                  <a:srgbClr val="333333"/>
                </a:solidFill>
                <a:effectLst/>
                <a:latin typeface="-apple-system"/>
              </a:rPr>
              <a:t> </a:t>
            </a:r>
            <a:r>
              <a:rPr lang="en-US" sz="1400" b="1" i="0" dirty="0">
                <a:solidFill>
                  <a:srgbClr val="333333"/>
                </a:solidFill>
                <a:effectLst/>
                <a:latin typeface="-apple-system"/>
              </a:rPr>
              <a:t>14</a:t>
            </a:r>
            <a:r>
              <a:rPr lang="en-US" sz="1400" b="0" i="0" dirty="0">
                <a:solidFill>
                  <a:srgbClr val="333333"/>
                </a:solidFill>
                <a:effectLst/>
                <a:latin typeface="-apple-system"/>
              </a:rPr>
              <a:t>, 78 (2016). https://doi.org/10.1186/s12916-016-0620-8</a:t>
            </a:r>
            <a:endParaRPr lang="fi-FI" sz="1400" dirty="0"/>
          </a:p>
        </p:txBody>
      </p:sp>
      <p:sp>
        <p:nvSpPr>
          <p:cNvPr id="2" name="Rectangle 1">
            <a:extLst>
              <a:ext uri="{FF2B5EF4-FFF2-40B4-BE49-F238E27FC236}">
                <a16:creationId xmlns:a16="http://schemas.microsoft.com/office/drawing/2014/main" id="{A8B29F8D-AEC9-B511-48C9-733E84FEC7F9}"/>
              </a:ext>
            </a:extLst>
          </p:cNvPr>
          <p:cNvSpPr/>
          <p:nvPr/>
        </p:nvSpPr>
        <p:spPr>
          <a:xfrm>
            <a:off x="2135560" y="5445224"/>
            <a:ext cx="8714559" cy="83126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883599447"/>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0D5EFB-6026-8AD2-BBA7-2207BFF94290}"/>
              </a:ext>
            </a:extLst>
          </p:cNvPr>
          <p:cNvSpPr>
            <a:spLocks noGrp="1"/>
          </p:cNvSpPr>
          <p:nvPr>
            <p:ph idx="1"/>
          </p:nvPr>
        </p:nvSpPr>
        <p:spPr/>
        <p:txBody>
          <a:bodyPr/>
          <a:lstStyle/>
          <a:p>
            <a:endParaRPr lang="fi-FI"/>
          </a:p>
        </p:txBody>
      </p:sp>
      <p:sp>
        <p:nvSpPr>
          <p:cNvPr id="3" name="Date Placeholder 2">
            <a:extLst>
              <a:ext uri="{FF2B5EF4-FFF2-40B4-BE49-F238E27FC236}">
                <a16:creationId xmlns:a16="http://schemas.microsoft.com/office/drawing/2014/main" id="{326B7448-87C6-2C9D-24AA-09E0FD21E0A8}"/>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7ADEED65-A1A3-070D-E94B-EF4F712254AC}"/>
              </a:ext>
            </a:extLst>
          </p:cNvPr>
          <p:cNvSpPr>
            <a:spLocks noGrp="1"/>
          </p:cNvSpPr>
          <p:nvPr>
            <p:ph type="sldNum" sz="quarter" idx="12"/>
          </p:nvPr>
        </p:nvSpPr>
        <p:spPr/>
        <p:txBody>
          <a:bodyPr/>
          <a:lstStyle/>
          <a:p>
            <a:pPr>
              <a:defRPr/>
            </a:pPr>
            <a:fld id="{4669315E-5A66-CF44-AE5D-C333B2F730C4}" type="slidenum">
              <a:rPr lang="en-GB" smtClean="0"/>
              <a:pPr>
                <a:defRPr/>
              </a:pPr>
              <a:t>8</a:t>
            </a:fld>
            <a:endParaRPr lang="en-GB" dirty="0"/>
          </a:p>
        </p:txBody>
      </p:sp>
      <p:sp>
        <p:nvSpPr>
          <p:cNvPr id="6" name="Title 5">
            <a:extLst>
              <a:ext uri="{FF2B5EF4-FFF2-40B4-BE49-F238E27FC236}">
                <a16:creationId xmlns:a16="http://schemas.microsoft.com/office/drawing/2014/main" id="{11DC4A6E-DFDB-8FE2-AC82-644859645D8C}"/>
              </a:ext>
            </a:extLst>
          </p:cNvPr>
          <p:cNvSpPr>
            <a:spLocks noGrp="1"/>
          </p:cNvSpPr>
          <p:nvPr>
            <p:ph type="title"/>
          </p:nvPr>
        </p:nvSpPr>
        <p:spPr/>
        <p:txBody>
          <a:bodyPr/>
          <a:lstStyle/>
          <a:p>
            <a:r>
              <a:rPr lang="fi-FI" dirty="0"/>
              <a:t>Mustajoki (2005): Oleellista hahmottaa vaikutusketjuja ja -tapoja</a:t>
            </a:r>
          </a:p>
        </p:txBody>
      </p:sp>
      <p:pic>
        <p:nvPicPr>
          <p:cNvPr id="8" name="Picture 7">
            <a:extLst>
              <a:ext uri="{FF2B5EF4-FFF2-40B4-BE49-F238E27FC236}">
                <a16:creationId xmlns:a16="http://schemas.microsoft.com/office/drawing/2014/main" id="{ECF7F55F-3A2A-D0C1-40E9-3877D946FE17}"/>
              </a:ext>
            </a:extLst>
          </p:cNvPr>
          <p:cNvPicPr>
            <a:picLocks noChangeAspect="1"/>
          </p:cNvPicPr>
          <p:nvPr/>
        </p:nvPicPr>
        <p:blipFill rotWithShape="1">
          <a:blip r:embed="rId2"/>
          <a:srcRect l="22831" t="24801" r="24013" b="16401"/>
          <a:stretch/>
        </p:blipFill>
        <p:spPr>
          <a:xfrm>
            <a:off x="2639616" y="2192392"/>
            <a:ext cx="6480720" cy="4032448"/>
          </a:xfrm>
          <a:prstGeom prst="rect">
            <a:avLst/>
          </a:prstGeom>
        </p:spPr>
      </p:pic>
    </p:spTree>
    <p:extLst>
      <p:ext uri="{BB962C8B-B14F-4D97-AF65-F5344CB8AC3E}">
        <p14:creationId xmlns:p14="http://schemas.microsoft.com/office/powerpoint/2010/main" val="3897173873"/>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6117C25D-0D01-D0EE-A507-5FE4118D00CE}"/>
              </a:ext>
            </a:extLst>
          </p:cNvPr>
          <p:cNvSpPr>
            <a:spLocks noGrp="1"/>
          </p:cNvSpPr>
          <p:nvPr>
            <p:ph type="subTitle" idx="1"/>
          </p:nvPr>
        </p:nvSpPr>
        <p:spPr/>
        <p:txBody>
          <a:bodyPr/>
          <a:lstStyle/>
          <a:p>
            <a:endParaRPr lang="fi-FI"/>
          </a:p>
        </p:txBody>
      </p:sp>
      <p:sp>
        <p:nvSpPr>
          <p:cNvPr id="7" name="Title 6">
            <a:extLst>
              <a:ext uri="{FF2B5EF4-FFF2-40B4-BE49-F238E27FC236}">
                <a16:creationId xmlns:a16="http://schemas.microsoft.com/office/drawing/2014/main" id="{BF989B24-2018-7581-41F0-7D942869AA8D}"/>
              </a:ext>
            </a:extLst>
          </p:cNvPr>
          <p:cNvSpPr>
            <a:spLocks noGrp="1"/>
          </p:cNvSpPr>
          <p:nvPr>
            <p:ph type="ctrTitle"/>
          </p:nvPr>
        </p:nvSpPr>
        <p:spPr/>
        <p:txBody>
          <a:bodyPr/>
          <a:lstStyle/>
          <a:p>
            <a:r>
              <a:rPr lang="fi-FI" dirty="0"/>
              <a:t>Mitä käytännössä?</a:t>
            </a:r>
          </a:p>
        </p:txBody>
      </p:sp>
      <p:sp>
        <p:nvSpPr>
          <p:cNvPr id="3" name="Date Placeholder 2">
            <a:extLst>
              <a:ext uri="{FF2B5EF4-FFF2-40B4-BE49-F238E27FC236}">
                <a16:creationId xmlns:a16="http://schemas.microsoft.com/office/drawing/2014/main" id="{E19BD72E-14F9-BF64-F2AD-1CDC31B8F775}"/>
              </a:ext>
            </a:extLst>
          </p:cNvPr>
          <p:cNvSpPr>
            <a:spLocks noGrp="1"/>
          </p:cNvSpPr>
          <p:nvPr>
            <p:ph type="dt" sz="half" idx="10"/>
          </p:nvPr>
        </p:nvSpPr>
        <p:spPr/>
        <p:txBody>
          <a:bodyPr/>
          <a:lstStyle/>
          <a:p>
            <a:pPr>
              <a:defRPr/>
            </a:pPr>
            <a:fld id="{0E421AAA-9468-410B-AE58-6AF913CDA27D}" type="datetime1">
              <a:rPr lang="en-GB" smtClean="0"/>
              <a:t>22/08/2025</a:t>
            </a:fld>
            <a:endParaRPr lang="fi-FI" dirty="0"/>
          </a:p>
        </p:txBody>
      </p:sp>
      <p:sp>
        <p:nvSpPr>
          <p:cNvPr id="5" name="Slide Number Placeholder 4">
            <a:extLst>
              <a:ext uri="{FF2B5EF4-FFF2-40B4-BE49-F238E27FC236}">
                <a16:creationId xmlns:a16="http://schemas.microsoft.com/office/drawing/2014/main" id="{9D0E0DB7-5DC4-2759-029D-5AD68B2CBB6B}"/>
              </a:ext>
            </a:extLst>
          </p:cNvPr>
          <p:cNvSpPr>
            <a:spLocks noGrp="1"/>
          </p:cNvSpPr>
          <p:nvPr>
            <p:ph type="sldNum" sz="quarter" idx="12"/>
          </p:nvPr>
        </p:nvSpPr>
        <p:spPr/>
        <p:txBody>
          <a:bodyPr/>
          <a:lstStyle/>
          <a:p>
            <a:pPr>
              <a:defRPr/>
            </a:pPr>
            <a:fld id="{4669315E-5A66-CF44-AE5D-C333B2F730C4}" type="slidenum">
              <a:rPr lang="en-GB" smtClean="0"/>
              <a:pPr>
                <a:defRPr/>
              </a:pPr>
              <a:t>9</a:t>
            </a:fld>
            <a:endParaRPr lang="en-GB" dirty="0"/>
          </a:p>
        </p:txBody>
      </p:sp>
    </p:spTree>
    <p:extLst>
      <p:ext uri="{BB962C8B-B14F-4D97-AF65-F5344CB8AC3E}">
        <p14:creationId xmlns:p14="http://schemas.microsoft.com/office/powerpoint/2010/main" val="145740448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j6onbS0TYCq67cSn2kp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j6onbS0TYCq67cSn2kp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bfOF0svTb6b_._XYE0z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Ya2yZK5SQWQxlGeHTpG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Y_2016">
  <a:themeElements>
    <a:clrScheme name="HY2016">
      <a:dk1>
        <a:sysClr val="windowText" lastClr="000000"/>
      </a:dk1>
      <a:lt1>
        <a:srgbClr val="FFFFFF"/>
      </a:lt1>
      <a:dk2>
        <a:srgbClr val="8C8A87"/>
      </a:dk2>
      <a:lt2>
        <a:srgbClr val="FFFFFF"/>
      </a:lt2>
      <a:accent1>
        <a:srgbClr val="0E4073"/>
      </a:accent1>
      <a:accent2>
        <a:srgbClr val="7B3CB4"/>
      </a:accent2>
      <a:accent3>
        <a:srgbClr val="45BC9F"/>
      </a:accent3>
      <a:accent4>
        <a:srgbClr val="A5E363"/>
      </a:accent4>
      <a:accent5>
        <a:srgbClr val="7ECEF1"/>
      </a:accent5>
      <a:accent6>
        <a:srgbClr val="FFE263"/>
      </a:accent6>
      <a:hlink>
        <a:srgbClr val="0091D0"/>
      </a:hlink>
      <a:folHlink>
        <a:srgbClr val="8C8A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0" tIns="0" rIns="0" bIns="0" numCol="1" anchor="ctr" anchorCtr="0" compatLnSpc="1">
        <a:prstTxWarp prst="textNoShape">
          <a:avLst/>
        </a:prstTxWarp>
      </a:bodyPr>
      <a:lstStyle>
        <a:defPPr>
          <a:defRPr dirty="0" err="1" smtClean="0"/>
        </a:defPPr>
      </a:lstStyle>
    </a:txDef>
  </a:objectDefaults>
  <a:extraClrSchemeLst/>
  <a:extLst>
    <a:ext uri="{05A4C25C-085E-4340-85A3-A5531E510DB2}">
      <thm15:themeFamily xmlns:thm15="http://schemas.microsoft.com/office/thememl/2012/main" name="HY_template_Gotham_tiedekunta_Lääketieteellinen_widescreen_15112016.potx" id="{6FEF8384-7870-484E-9272-92D7ED2DDA50}" vid="{6416153B-7F4A-4593-A141-1C8B805F7357}"/>
    </a:ext>
  </a:extLst>
</a:theme>
</file>

<file path=ppt/theme/theme2.xml><?xml version="1.0" encoding="utf-8"?>
<a:theme xmlns:a="http://schemas.openxmlformats.org/drawingml/2006/main" name="Office Theme">
  <a:themeElements>
    <a:clrScheme name="HY (konserni)">
      <a:dk1>
        <a:sysClr val="windowText" lastClr="000000"/>
      </a:dk1>
      <a:lt1>
        <a:srgbClr val="FFFFFF"/>
      </a:lt1>
      <a:dk2>
        <a:srgbClr val="8C8A87"/>
      </a:dk2>
      <a:lt2>
        <a:srgbClr val="FFFFFF"/>
      </a:lt2>
      <a:accent1>
        <a:srgbClr val="8C8A87"/>
      </a:accent1>
      <a:accent2>
        <a:srgbClr val="1E1C77"/>
      </a:accent2>
      <a:accent3>
        <a:srgbClr val="FCA311"/>
      </a:accent3>
      <a:accent4>
        <a:srgbClr val="256EC7"/>
      </a:accent4>
      <a:accent5>
        <a:srgbClr val="8EAC7D"/>
      </a:accent5>
      <a:accent6>
        <a:srgbClr val="718A93"/>
      </a:accent6>
      <a:hlink>
        <a:srgbClr val="FCA311"/>
      </a:hlink>
      <a:folHlink>
        <a:srgbClr val="8C8A87"/>
      </a:folHlink>
    </a:clrScheme>
    <a:fontScheme name="Basic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Y (konserni)">
      <a:dk1>
        <a:sysClr val="windowText" lastClr="000000"/>
      </a:dk1>
      <a:lt1>
        <a:srgbClr val="FFFFFF"/>
      </a:lt1>
      <a:dk2>
        <a:srgbClr val="8C8A87"/>
      </a:dk2>
      <a:lt2>
        <a:srgbClr val="FFFFFF"/>
      </a:lt2>
      <a:accent1>
        <a:srgbClr val="8C8A87"/>
      </a:accent1>
      <a:accent2>
        <a:srgbClr val="1E1C77"/>
      </a:accent2>
      <a:accent3>
        <a:srgbClr val="FCA311"/>
      </a:accent3>
      <a:accent4>
        <a:srgbClr val="256EC7"/>
      </a:accent4>
      <a:accent5>
        <a:srgbClr val="8EAC7D"/>
      </a:accent5>
      <a:accent6>
        <a:srgbClr val="718A93"/>
      </a:accent6>
      <a:hlink>
        <a:srgbClr val="FCA311"/>
      </a:hlink>
      <a:folHlink>
        <a:srgbClr val="8C8A87"/>
      </a:folHlink>
    </a:clrScheme>
    <a:fontScheme name="Basic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65</Words>
  <Application>Microsoft Office PowerPoint</Application>
  <PresentationFormat>Widescreen</PresentationFormat>
  <Paragraphs>105</Paragraphs>
  <Slides>15</Slides>
  <Notes>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9" baseType="lpstr">
      <vt:lpstr>-apple-system</vt:lpstr>
      <vt:lpstr>Arial</vt:lpstr>
      <vt:lpstr>Courier New</vt:lpstr>
      <vt:lpstr>Gotham Narrow Bold</vt:lpstr>
      <vt:lpstr>Gotham Narrow Book</vt:lpstr>
      <vt:lpstr>Gotham-Bold</vt:lpstr>
      <vt:lpstr>Helvetica</vt:lpstr>
      <vt:lpstr>inherit</vt:lpstr>
      <vt:lpstr>Open Sans</vt:lpstr>
      <vt:lpstr>Source Sans 3</vt:lpstr>
      <vt:lpstr>Söhne</vt:lpstr>
      <vt:lpstr>Wingdings</vt:lpstr>
      <vt:lpstr>HY_2016</vt:lpstr>
      <vt:lpstr>think-cell Slide</vt:lpstr>
      <vt:lpstr>Tutkimuksen vaikuttavuus</vt:lpstr>
      <vt:lpstr>Mitä teoriassa?</vt:lpstr>
      <vt:lpstr>Termi vaikuttavuus</vt:lpstr>
      <vt:lpstr>Tieteen tavoitteena on lähestyä totuutta</vt:lpstr>
      <vt:lpstr>On hyvä huomata, että tieteen/tutkimuksen painopisteet saattavat vaihdella ajassa</vt:lpstr>
      <vt:lpstr>Kirjallisuudesta tai akateemisilta toimijoilta löytyy Erilaisia määritelmiä/kuvauksia…</vt:lpstr>
      <vt:lpstr>Minkätyyppisestä tutkimuksesta on kyse – mitä tavoitellaan?</vt:lpstr>
      <vt:lpstr>Mustajoki (2005): Oleellista hahmottaa vaikutusketjuja ja -tapoja</vt:lpstr>
      <vt:lpstr>Mitä käytännössä?</vt:lpstr>
      <vt:lpstr>Viitekehysten avulla voidaan jäsentää ja hahmottaa vaikutusketjuja (Esimerkki Canadian Academy of Health Sciences (CAHS) Framework)</vt:lpstr>
      <vt:lpstr>Miten eri vaiheita mitataan?</vt:lpstr>
      <vt:lpstr>Mitä muita tapoja arvioida vaikuttavuutta?</vt:lpstr>
      <vt:lpstr>Mitä esimerkiksi suomen akatemia arvioi yhteiskunnallisina vaikutuksina?</vt:lpstr>
      <vt:lpstr>Monimutkaisesta yksinkertaiseen</vt:lpstr>
      <vt:lpstr>Yhteenveto: millaisista asioista tutkimuksen vaikuttavuus koostu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19-05-09T02:24:00Z</dcterms:created>
  <dcterms:modified xsi:type="dcterms:W3CDTF">2025-08-22T08:57:49Z</dcterms:modified>
</cp:coreProperties>
</file>